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2.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3.xml" ContentType="application/vnd.openxmlformats-officedocument.presentationml.notesSlide+xml"/>
  <Override PartName="/ppt/tags/tag5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6.xml" ContentType="application/vnd.openxmlformats-officedocument.presentationml.tags+xml"/>
  <Override PartName="/ppt/notesSlides/notesSlide7.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8"/>
  </p:notesMasterIdLst>
  <p:sldIdLst>
    <p:sldId id="1448945410" r:id="rId2"/>
    <p:sldId id="1567" r:id="rId3"/>
    <p:sldId id="1448945460" r:id="rId4"/>
    <p:sldId id="1448945412" r:id="rId5"/>
    <p:sldId id="1448945462" r:id="rId6"/>
    <p:sldId id="1448945441" r:id="rId7"/>
    <p:sldId id="1448945446" r:id="rId8"/>
    <p:sldId id="1448945456" r:id="rId9"/>
    <p:sldId id="1448945447" r:id="rId10"/>
    <p:sldId id="1448945448" r:id="rId11"/>
    <p:sldId id="1448945450" r:id="rId12"/>
    <p:sldId id="1448945451" r:id="rId13"/>
    <p:sldId id="1448945442" r:id="rId14"/>
    <p:sldId id="1448944182" r:id="rId15"/>
    <p:sldId id="1448945444" r:id="rId16"/>
    <p:sldId id="1448945449"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979" autoAdjust="0"/>
    <p:restoredTop sz="93810" autoAdjust="0"/>
  </p:normalViewPr>
  <p:slideViewPr>
    <p:cSldViewPr snapToGrid="0" showGuides="1">
      <p:cViewPr varScale="1">
        <p:scale>
          <a:sx n="80" d="100"/>
          <a:sy n="80" d="100"/>
        </p:scale>
        <p:origin x="1013" y="67"/>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4B6630-A0C8-4A28-8577-A32573F731DB}" type="datetimeFigureOut">
              <a:rPr lang="en-US" smtClean="0"/>
              <a:t>1/1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010E06-2459-4683-8215-DDA25A927C4D}" type="slidenum">
              <a:rPr lang="en-US" smtClean="0"/>
              <a:t>‹#›</a:t>
            </a:fld>
            <a:endParaRPr lang="en-US"/>
          </a:p>
        </p:txBody>
      </p:sp>
    </p:spTree>
    <p:extLst>
      <p:ext uri="{BB962C8B-B14F-4D97-AF65-F5344CB8AC3E}">
        <p14:creationId xmlns:p14="http://schemas.microsoft.com/office/powerpoint/2010/main" val="29211141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Kopfzeilenplatzhalter 3"/>
          <p:cNvSpPr>
            <a:spLocks noGrp="1"/>
          </p:cNvSpPr>
          <p:nvPr>
            <p:ph type="hdr" sz="quarter" idx="10"/>
          </p:nvPr>
        </p:nvSpPr>
        <p:spPr/>
        <p:txBody>
          <a:bodyPr/>
          <a:lstStyle/>
          <a:p>
            <a:pPr>
              <a:defRPr/>
            </a:pPr>
            <a:endParaRPr lang="en-GB"/>
          </a:p>
        </p:txBody>
      </p:sp>
      <p:sp>
        <p:nvSpPr>
          <p:cNvPr id="5" name="Fußzeilenplatzhalter 4"/>
          <p:cNvSpPr>
            <a:spLocks noGrp="1"/>
          </p:cNvSpPr>
          <p:nvPr>
            <p:ph type="ftr" sz="quarter" idx="11"/>
          </p:nvPr>
        </p:nvSpPr>
        <p:spPr/>
        <p:txBody>
          <a:bodyPr/>
          <a:lstStyle/>
          <a:p>
            <a:pPr>
              <a:defRPr/>
            </a:pPr>
            <a:endParaRPr lang="en-GB"/>
          </a:p>
        </p:txBody>
      </p:sp>
      <p:sp>
        <p:nvSpPr>
          <p:cNvPr id="6" name="Foliennummernplatzhalter 5"/>
          <p:cNvSpPr>
            <a:spLocks noGrp="1"/>
          </p:cNvSpPr>
          <p:nvPr>
            <p:ph type="sldNum" sz="quarter" idx="12"/>
          </p:nvPr>
        </p:nvSpPr>
        <p:spPr/>
        <p:txBody>
          <a:bodyPr/>
          <a:lstStyle/>
          <a:p>
            <a:fld id="{A71596A6-2A7C-4EF4-AB0E-4C23D251F21C}" type="slidenum">
              <a:rPr lang="en-GB" smtClean="0"/>
              <a:pPr/>
              <a:t>2</a:t>
            </a:fld>
            <a:endParaRPr lang="en-GB"/>
          </a:p>
        </p:txBody>
      </p:sp>
    </p:spTree>
    <p:extLst>
      <p:ext uri="{BB962C8B-B14F-4D97-AF65-F5344CB8AC3E}">
        <p14:creationId xmlns:p14="http://schemas.microsoft.com/office/powerpoint/2010/main" val="3659854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010E06-2459-4683-8215-DDA25A927C4D}" type="slidenum">
              <a:rPr lang="en-US" smtClean="0"/>
              <a:t>3</a:t>
            </a:fld>
            <a:endParaRPr lang="en-US"/>
          </a:p>
        </p:txBody>
      </p:sp>
    </p:spTree>
    <p:extLst>
      <p:ext uri="{BB962C8B-B14F-4D97-AF65-F5344CB8AC3E}">
        <p14:creationId xmlns:p14="http://schemas.microsoft.com/office/powerpoint/2010/main" val="25606287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010E06-2459-4683-8215-DDA25A927C4D}" type="slidenum">
              <a:rPr lang="en-US" smtClean="0"/>
              <a:t>5</a:t>
            </a:fld>
            <a:endParaRPr lang="en-US"/>
          </a:p>
        </p:txBody>
      </p:sp>
    </p:spTree>
    <p:extLst>
      <p:ext uri="{BB962C8B-B14F-4D97-AF65-F5344CB8AC3E}">
        <p14:creationId xmlns:p14="http://schemas.microsoft.com/office/powerpoint/2010/main" val="7712444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010E06-2459-4683-8215-DDA25A927C4D}" type="slidenum">
              <a:rPr lang="en-US" smtClean="0"/>
              <a:t>6</a:t>
            </a:fld>
            <a:endParaRPr lang="en-US"/>
          </a:p>
        </p:txBody>
      </p:sp>
    </p:spTree>
    <p:extLst>
      <p:ext uri="{BB962C8B-B14F-4D97-AF65-F5344CB8AC3E}">
        <p14:creationId xmlns:p14="http://schemas.microsoft.com/office/powerpoint/2010/main" val="3475709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010E06-2459-4683-8215-DDA25A927C4D}" type="slidenum">
              <a:rPr lang="en-US" smtClean="0"/>
              <a:t>7</a:t>
            </a:fld>
            <a:endParaRPr lang="en-US"/>
          </a:p>
        </p:txBody>
      </p:sp>
    </p:spTree>
    <p:extLst>
      <p:ext uri="{BB962C8B-B14F-4D97-AF65-F5344CB8AC3E}">
        <p14:creationId xmlns:p14="http://schemas.microsoft.com/office/powerpoint/2010/main" val="35944909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010E06-2459-4683-8215-DDA25A927C4D}" type="slidenum">
              <a:rPr lang="en-US" smtClean="0"/>
              <a:t>8</a:t>
            </a:fld>
            <a:endParaRPr lang="en-US"/>
          </a:p>
        </p:txBody>
      </p:sp>
    </p:spTree>
    <p:extLst>
      <p:ext uri="{BB962C8B-B14F-4D97-AF65-F5344CB8AC3E}">
        <p14:creationId xmlns:p14="http://schemas.microsoft.com/office/powerpoint/2010/main" val="9107498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010E06-2459-4683-8215-DDA25A927C4D}" type="slidenum">
              <a:rPr lang="en-US" smtClean="0"/>
              <a:t>9</a:t>
            </a:fld>
            <a:endParaRPr lang="en-US"/>
          </a:p>
        </p:txBody>
      </p:sp>
    </p:spTree>
    <p:extLst>
      <p:ext uri="{BB962C8B-B14F-4D97-AF65-F5344CB8AC3E}">
        <p14:creationId xmlns:p14="http://schemas.microsoft.com/office/powerpoint/2010/main" val="21603534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5.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sv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2.emf"/><Relationship Id="rId5" Type="http://schemas.openxmlformats.org/officeDocument/2006/relationships/image" Target="../media/image9.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3.vml"/><Relationship Id="rId5" Type="http://schemas.openxmlformats.org/officeDocument/2006/relationships/image" Target="../media/image9.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13.emf"/><Relationship Id="rId5" Type="http://schemas.openxmlformats.org/officeDocument/2006/relationships/image" Target="../media/image9.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5.vml"/><Relationship Id="rId5" Type="http://schemas.openxmlformats.org/officeDocument/2006/relationships/image" Target="../media/image9.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16.vml"/><Relationship Id="rId5" Type="http://schemas.openxmlformats.org/officeDocument/2006/relationships/image" Target="../media/image9.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7.vml"/><Relationship Id="rId5" Type="http://schemas.openxmlformats.org/officeDocument/2006/relationships/image" Target="../media/image9.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8.vml"/><Relationship Id="rId5" Type="http://schemas.openxmlformats.org/officeDocument/2006/relationships/image" Target="../media/image9.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9.vml"/><Relationship Id="rId5" Type="http://schemas.openxmlformats.org/officeDocument/2006/relationships/image" Target="../media/image9.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20.vml"/><Relationship Id="rId5" Type="http://schemas.openxmlformats.org/officeDocument/2006/relationships/image" Target="../media/image9.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21.vml"/><Relationship Id="rId5" Type="http://schemas.openxmlformats.org/officeDocument/2006/relationships/image" Target="../media/image9.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22.vml"/><Relationship Id="rId5" Type="http://schemas.openxmlformats.org/officeDocument/2006/relationships/image" Target="../media/image9.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23.vml"/><Relationship Id="rId5" Type="http://schemas.openxmlformats.org/officeDocument/2006/relationships/image" Target="../media/image9.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24.vml"/><Relationship Id="rId5" Type="http://schemas.openxmlformats.org/officeDocument/2006/relationships/image" Target="../media/image9.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25.vml"/><Relationship Id="rId5" Type="http://schemas.openxmlformats.org/officeDocument/2006/relationships/image" Target="../media/image9.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svg"/><Relationship Id="rId2" Type="http://schemas.openxmlformats.org/officeDocument/2006/relationships/tags" Target="../tags/tag37.xml"/><Relationship Id="rId1" Type="http://schemas.openxmlformats.org/officeDocument/2006/relationships/vmlDrawing" Target="../drawings/vmlDrawing26.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27.vml"/><Relationship Id="rId5" Type="http://schemas.openxmlformats.org/officeDocument/2006/relationships/image" Target="../media/image9.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28.vml"/><Relationship Id="rId5" Type="http://schemas.openxmlformats.org/officeDocument/2006/relationships/image" Target="../media/image9.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1.xml"/><Relationship Id="rId7" Type="http://schemas.openxmlformats.org/officeDocument/2006/relationships/image" Target="../media/image6.emf"/><Relationship Id="rId2" Type="http://schemas.openxmlformats.org/officeDocument/2006/relationships/tags" Target="../tags/tag40.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9.bin"/><Relationship Id="rId10" Type="http://schemas.openxmlformats.org/officeDocument/2006/relationships/image" Target="../media/image16.png"/><Relationship Id="rId4" Type="http://schemas.openxmlformats.org/officeDocument/2006/relationships/slideMaster" Target="../slideMasters/slideMaster1.xml"/><Relationship Id="rId9" Type="http://schemas.openxmlformats.org/officeDocument/2006/relationships/image" Target="../media/image15.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43.xml"/><Relationship Id="rId7" Type="http://schemas.openxmlformats.org/officeDocument/2006/relationships/image" Target="../media/image5.emf"/><Relationship Id="rId2" Type="http://schemas.openxmlformats.org/officeDocument/2006/relationships/tags" Target="../tags/tag42.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10" Type="http://schemas.openxmlformats.org/officeDocument/2006/relationships/image" Target="../media/image19.png"/><Relationship Id="rId4" Type="http://schemas.openxmlformats.org/officeDocument/2006/relationships/slideMaster" Target="../slideMasters/slideMaster1.xml"/><Relationship Id="rId9" Type="http://schemas.openxmlformats.org/officeDocument/2006/relationships/image" Target="../media/image18.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5.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5.xml"/><Relationship Id="rId7" Type="http://schemas.openxmlformats.org/officeDocument/2006/relationships/image" Target="../media/image6.emf"/><Relationship Id="rId2" Type="http://schemas.openxmlformats.org/officeDocument/2006/relationships/tags" Target="../tags/tag44.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10" Type="http://schemas.openxmlformats.org/officeDocument/2006/relationships/image" Target="../media/image16.png"/><Relationship Id="rId4" Type="http://schemas.openxmlformats.org/officeDocument/2006/relationships/slideMaster" Target="../slideMasters/slideMaster1.xml"/><Relationship Id="rId9" Type="http://schemas.openxmlformats.org/officeDocument/2006/relationships/image" Target="../media/image15.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47.xml"/><Relationship Id="rId7" Type="http://schemas.openxmlformats.org/officeDocument/2006/relationships/image" Target="../media/image5.emf"/><Relationship Id="rId2" Type="http://schemas.openxmlformats.org/officeDocument/2006/relationships/tags" Target="../tags/tag46.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10" Type="http://schemas.openxmlformats.org/officeDocument/2006/relationships/image" Target="../media/image19.png"/><Relationship Id="rId4" Type="http://schemas.openxmlformats.org/officeDocument/2006/relationships/slideMaster" Target="../slideMasters/slideMaster1.xml"/><Relationship Id="rId9" Type="http://schemas.openxmlformats.org/officeDocument/2006/relationships/image" Target="../media/image18.png"/></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6.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5.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6.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5.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4.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7.emf"/><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4.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8.emf"/><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p:custDataLst>
              <p:tags r:id="rId2"/>
            </p:custDataLst>
            <p:extLst>
              <p:ext uri="{D42A27DB-BD31-4B8C-83A1-F6EECF244321}">
                <p14:modId xmlns:p14="http://schemas.microsoft.com/office/powerpoint/2010/main" val="2861074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3" name="think-cell Folie" r:id="rId5" imgW="286" imgH="286" progId="TCLayout.ActiveDocument.1">
                  <p:embed/>
                </p:oleObj>
              </mc:Choice>
              <mc:Fallback>
                <p:oleObj name="think-cell Foli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US" sz="3000" b="1" i="0" baseline="0"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vert="horz" anchor="t" anchorCtr="0"/>
          <a:lstStyle>
            <a:lvl1pPr algn="l" rtl="0">
              <a:lnSpc>
                <a:spcPct val="100000"/>
              </a:lnSpc>
              <a:spcBef>
                <a:spcPts val="0"/>
              </a:spcBef>
              <a:defRPr sz="4300" b="1">
                <a:solidFill>
                  <a:schemeClr val="tx1"/>
                </a:solidFill>
              </a:defRPr>
            </a:lvl1pPr>
          </a:lstStyle>
          <a:p>
            <a:r>
              <a:rPr lang="en-US" noProof="0" dirty="0"/>
              <a:t>Presentation </a:t>
            </a:r>
            <a:br>
              <a:rPr lang="en-US" noProof="0" dirty="0"/>
            </a:br>
            <a:r>
              <a:rPr lang="en-US" noProof="0" dirty="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rtl="0">
              <a:lnSpc>
                <a:spcPct val="100000"/>
              </a:lnSpc>
              <a:spcBef>
                <a:spcPts val="0"/>
              </a:spcBef>
              <a:spcAft>
                <a:spcPts val="0"/>
              </a:spcAft>
              <a:buNone/>
              <a:defRPr sz="2400">
                <a:solidFill>
                  <a:schemeClr val="tx1"/>
                </a:solidFill>
                <a:latin typeface="+mn-lt"/>
                <a:cs typeface="Abadi MT Condensed Extra Bold"/>
              </a:defRPr>
            </a:lvl1pPr>
            <a:lvl2pPr marL="0" indent="0" algn="l">
              <a:lnSpc>
                <a:spcPct val="100000"/>
              </a:lnSpc>
              <a:spcAft>
                <a:spcPts val="0"/>
              </a:spcAft>
              <a:buNone/>
              <a:defRPr sz="2400"/>
            </a:lvl2pPr>
            <a:lvl3pPr marL="0" indent="0" algn="l">
              <a:lnSpc>
                <a:spcPct val="100000"/>
              </a:lnSpc>
              <a:spcAft>
                <a:spcPts val="0"/>
              </a:spcAft>
              <a:buNone/>
              <a:defRPr sz="2400"/>
            </a:lvl3pPr>
            <a:lvl4pPr marL="0" indent="0" algn="l">
              <a:lnSpc>
                <a:spcPct val="100000"/>
              </a:lnSpc>
              <a:spcAft>
                <a:spcPts val="0"/>
              </a:spcAft>
              <a:buNone/>
              <a:defRPr sz="2400"/>
            </a:lvl4pPr>
            <a:lvl5pPr marL="0" indent="0" algn="l">
              <a:lnSpc>
                <a:spcPct val="100000"/>
              </a:lnSpc>
              <a:spcAft>
                <a:spcPts val="0"/>
              </a:spcAft>
              <a:buNone/>
              <a:defRPr sz="2400"/>
            </a:lvl5pPr>
            <a:lvl6pPr marL="0" indent="0" algn="l">
              <a:lnSpc>
                <a:spcPct val="100000"/>
              </a:lnSpc>
              <a:spcAft>
                <a:spcPts val="0"/>
              </a:spcAft>
              <a:buNone/>
              <a:defRPr sz="2400"/>
            </a:lvl6pPr>
            <a:lvl7pPr marL="0" indent="0" algn="l">
              <a:lnSpc>
                <a:spcPct val="100000"/>
              </a:lnSpc>
              <a:spcAft>
                <a:spcPts val="0"/>
              </a:spcAft>
              <a:buNone/>
              <a:defRPr sz="2400"/>
            </a:lvl7pPr>
            <a:lvl8pPr marL="0" indent="0" algn="l">
              <a:lnSpc>
                <a:spcPct val="100000"/>
              </a:lnSpc>
              <a:spcAft>
                <a:spcPts val="0"/>
              </a:spcAft>
              <a:buNone/>
              <a:defRPr sz="2400"/>
            </a:lvl8pPr>
            <a:lvl9pPr marL="0" indent="0" algn="l">
              <a:lnSpc>
                <a:spcPct val="100000"/>
              </a:lnSpc>
              <a:spcAft>
                <a:spcPts val="0"/>
              </a:spcAft>
              <a:buNone/>
              <a:defRPr sz="2400"/>
            </a:lvl9pPr>
          </a:lstStyle>
          <a:p>
            <a:r>
              <a:rPr lang="en-US" noProof="0" dirty="0"/>
              <a:t>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gray">
          <a:xfrm>
            <a:off x="586817" y="4689140"/>
            <a:ext cx="3529571" cy="288032"/>
          </a:xfrm>
        </p:spPr>
        <p:txBody>
          <a:bodyPr anchor="t"/>
          <a:lstStyle>
            <a:lvl1pPr marL="0" indent="0" algn="l" rtl="0">
              <a:lnSpc>
                <a:spcPct val="100000"/>
              </a:lnSpc>
              <a:spcBef>
                <a:spcPts val="0"/>
              </a:spcBef>
              <a:spcAft>
                <a:spcPts val="0"/>
              </a:spcAft>
              <a:buFont typeface="Arial" panose="020B0604020202020204" pitchFamily="34" charset="0"/>
              <a:buNone/>
              <a:defRPr sz="1400"/>
            </a:lvl1pPr>
            <a:lvl2pPr marL="0" indent="0">
              <a:lnSpc>
                <a:spcPct val="100000"/>
              </a:lnSpc>
              <a:spcBef>
                <a:spcPts val="0"/>
              </a:spcBef>
              <a:spcAft>
                <a:spcPts val="0"/>
              </a:spcAft>
              <a:defRPr sz="1400"/>
            </a:lvl2pPr>
            <a:lvl3pPr marL="0" indent="0">
              <a:lnSpc>
                <a:spcPct val="100000"/>
              </a:lnSpc>
              <a:spcBef>
                <a:spcPts val="0"/>
              </a:spcBef>
              <a:spcAft>
                <a:spcPts val="0"/>
              </a:spcAft>
              <a:defRPr sz="1400"/>
            </a:lvl3pPr>
            <a:lvl4pPr marL="0" indent="0">
              <a:lnSpc>
                <a:spcPct val="100000"/>
              </a:lnSpc>
              <a:spcBef>
                <a:spcPts val="0"/>
              </a:spcBef>
              <a:spcAft>
                <a:spcPts val="0"/>
              </a:spcAft>
              <a:defRPr sz="1400"/>
            </a:lvl4pPr>
            <a:lvl5pPr marL="0" indent="0">
              <a:lnSpc>
                <a:spcPct val="100000"/>
              </a:lnSpc>
              <a:spcBef>
                <a:spcPts val="0"/>
              </a:spcBef>
              <a:spcAft>
                <a:spcPts val="0"/>
              </a:spcAft>
              <a:defRPr sz="1400"/>
            </a:lvl5pPr>
            <a:lvl6pPr marL="0" indent="0">
              <a:lnSpc>
                <a:spcPct val="100000"/>
              </a:lnSpc>
              <a:spcBef>
                <a:spcPts val="0"/>
              </a:spcBef>
              <a:spcAft>
                <a:spcPts val="0"/>
              </a:spcAft>
              <a:defRPr sz="1400"/>
            </a:lvl6pPr>
            <a:lvl7pPr marL="0" indent="0">
              <a:lnSpc>
                <a:spcPct val="100000"/>
              </a:lnSpc>
              <a:spcBef>
                <a:spcPts val="0"/>
              </a:spcBef>
              <a:spcAft>
                <a:spcPts val="0"/>
              </a:spcAft>
              <a:defRPr sz="1400"/>
            </a:lvl7pPr>
            <a:lvl8pPr marL="0" indent="0">
              <a:lnSpc>
                <a:spcPct val="100000"/>
              </a:lnSpc>
              <a:spcBef>
                <a:spcPts val="0"/>
              </a:spcBef>
              <a:spcAft>
                <a:spcPts val="0"/>
              </a:spcAft>
              <a:defRPr sz="1400"/>
            </a:lvl8pPr>
            <a:lvl9pPr marL="0" indent="0">
              <a:lnSpc>
                <a:spcPct val="100000"/>
              </a:lnSpc>
              <a:spcBef>
                <a:spcPts val="0"/>
              </a:spcBef>
              <a:spcAft>
                <a:spcPts val="0"/>
              </a:spcAft>
              <a:defRPr sz="1400"/>
            </a:lvl9pPr>
          </a:lstStyle>
          <a:p>
            <a:fld id="{135B7705-0507-47FB-92FF-E6630F833492}" type="datetime1">
              <a:rPr lang="en-US"/>
              <a:t>1/16/2022</a:t>
            </a:fld>
            <a:endParaRPr lang="en-US" dirty="0"/>
          </a:p>
        </p:txBody>
      </p:sp>
      <p:grpSp>
        <p:nvGrpSpPr>
          <p:cNvPr id="28" name="Grafik 26">
            <a:extLst>
              <a:ext uri="{FF2B5EF4-FFF2-40B4-BE49-F238E27FC236}">
                <a16:creationId xmlns:a16="http://schemas.microsoft.com/office/drawing/2014/main" id="{3D57C2D4-C01A-4857-9D61-9F2435B053AD}"/>
              </a:ext>
            </a:extLst>
          </p:cNvPr>
          <p:cNvGrpSpPr/>
          <p:nvPr/>
        </p:nvGrpSpPr>
        <p:grpSpPr bwMode="gray">
          <a:xfrm flipV="1">
            <a:off x="8796137" y="2744924"/>
            <a:ext cx="3392976" cy="4120042"/>
            <a:chOff x="5267908" y="2744924"/>
            <a:chExt cx="3392976" cy="4120042"/>
          </a:xfrm>
        </p:grpSpPr>
        <p:sp>
          <p:nvSpPr>
            <p:cNvPr id="29" name="Freihandform: Form 28">
              <a:extLst>
                <a:ext uri="{FF2B5EF4-FFF2-40B4-BE49-F238E27FC236}">
                  <a16:creationId xmlns:a16="http://schemas.microsoft.com/office/drawing/2014/main" id="{1DE8DAE5-42A1-4DC4-8EBC-FC4EB00505B8}"/>
                </a:ext>
              </a:extLst>
            </p:cNvPr>
            <p:cNvSpPr/>
            <p:nvPr/>
          </p:nvSpPr>
          <p:spPr bwMode="gray">
            <a:xfrm>
              <a:off x="6479685" y="3229634"/>
              <a:ext cx="1211777" cy="1211777"/>
            </a:xfrm>
            <a:custGeom>
              <a:avLst/>
              <a:gdLst>
                <a:gd name="connsiteX0" fmla="*/ 0 w 1211777"/>
                <a:gd name="connsiteY0" fmla="*/ 0 h 1211777"/>
                <a:gd name="connsiteX1" fmla="*/ 1211777 w 1211777"/>
                <a:gd name="connsiteY1" fmla="*/ 0 h 1211777"/>
                <a:gd name="connsiteX2" fmla="*/ 1211777 w 1211777"/>
                <a:gd name="connsiteY2" fmla="*/ 1211777 h 1211777"/>
                <a:gd name="connsiteX3" fmla="*/ 0 w 1211777"/>
                <a:gd name="connsiteY3" fmla="*/ 1211777 h 1211777"/>
              </a:gdLst>
              <a:ahLst/>
              <a:cxnLst>
                <a:cxn ang="0">
                  <a:pos x="connsiteX0" y="connsiteY0"/>
                </a:cxn>
                <a:cxn ang="0">
                  <a:pos x="connsiteX1" y="connsiteY1"/>
                </a:cxn>
                <a:cxn ang="0">
                  <a:pos x="connsiteX2" y="connsiteY2"/>
                </a:cxn>
                <a:cxn ang="0">
                  <a:pos x="connsiteX3" y="connsiteY3"/>
                </a:cxn>
              </a:cxnLst>
              <a:rect l="l" t="t" r="r" b="b"/>
              <a:pathLst>
                <a:path w="1211777" h="1211777">
                  <a:moveTo>
                    <a:pt x="0" y="0"/>
                  </a:moveTo>
                  <a:lnTo>
                    <a:pt x="1211777" y="0"/>
                  </a:lnTo>
                  <a:lnTo>
                    <a:pt x="1211777" y="1211777"/>
                  </a:lnTo>
                  <a:lnTo>
                    <a:pt x="0" y="1211777"/>
                  </a:lnTo>
                  <a:close/>
                </a:path>
              </a:pathLst>
            </a:custGeom>
            <a:solidFill>
              <a:srgbClr val="00CE7D"/>
            </a:solidFill>
            <a:ln w="12110" cap="flat">
              <a:noFill/>
              <a:prstDash val="solid"/>
              <a:miter/>
            </a:ln>
          </p:spPr>
          <p:txBody>
            <a:bodyPr rtlCol="0" anchor="ctr"/>
            <a:lstStyle/>
            <a:p>
              <a:pPr rtl="0"/>
              <a:endParaRPr lang="en-US" dirty="0"/>
            </a:p>
          </p:txBody>
        </p:sp>
        <p:sp>
          <p:nvSpPr>
            <p:cNvPr id="30" name="Freihandform: Form 29">
              <a:extLst>
                <a:ext uri="{FF2B5EF4-FFF2-40B4-BE49-F238E27FC236}">
                  <a16:creationId xmlns:a16="http://schemas.microsoft.com/office/drawing/2014/main" id="{9A006B06-7E30-476E-80C1-4F201D7E84E9}"/>
                </a:ext>
              </a:extLst>
            </p:cNvPr>
            <p:cNvSpPr/>
            <p:nvPr/>
          </p:nvSpPr>
          <p:spPr bwMode="gray">
            <a:xfrm>
              <a:off x="5267908" y="2744924"/>
              <a:ext cx="1211777" cy="484710"/>
            </a:xfrm>
            <a:custGeom>
              <a:avLst/>
              <a:gdLst>
                <a:gd name="connsiteX0" fmla="*/ 0 w 1211777"/>
                <a:gd name="connsiteY0" fmla="*/ 0 h 484710"/>
                <a:gd name="connsiteX1" fmla="*/ 1211777 w 1211777"/>
                <a:gd name="connsiteY1" fmla="*/ 0 h 484710"/>
                <a:gd name="connsiteX2" fmla="*/ 1211777 w 1211777"/>
                <a:gd name="connsiteY2" fmla="*/ 484711 h 484710"/>
                <a:gd name="connsiteX3" fmla="*/ 0 w 1211777"/>
                <a:gd name="connsiteY3" fmla="*/ 484711 h 484710"/>
              </a:gdLst>
              <a:ahLst/>
              <a:cxnLst>
                <a:cxn ang="0">
                  <a:pos x="connsiteX0" y="connsiteY0"/>
                </a:cxn>
                <a:cxn ang="0">
                  <a:pos x="connsiteX1" y="connsiteY1"/>
                </a:cxn>
                <a:cxn ang="0">
                  <a:pos x="connsiteX2" y="connsiteY2"/>
                </a:cxn>
                <a:cxn ang="0">
                  <a:pos x="connsiteX3" y="connsiteY3"/>
                </a:cxn>
              </a:cxnLst>
              <a:rect l="l" t="t" r="r" b="b"/>
              <a:pathLst>
                <a:path w="1211777" h="484710">
                  <a:moveTo>
                    <a:pt x="0" y="0"/>
                  </a:moveTo>
                  <a:lnTo>
                    <a:pt x="1211777" y="0"/>
                  </a:lnTo>
                  <a:lnTo>
                    <a:pt x="1211777" y="484711"/>
                  </a:lnTo>
                  <a:lnTo>
                    <a:pt x="0" y="484711"/>
                  </a:lnTo>
                  <a:close/>
                </a:path>
              </a:pathLst>
            </a:custGeom>
            <a:solidFill>
              <a:srgbClr val="201751"/>
            </a:solidFill>
            <a:ln w="12110" cap="flat">
              <a:noFill/>
              <a:prstDash val="solid"/>
              <a:miter/>
            </a:ln>
          </p:spPr>
          <p:txBody>
            <a:bodyPr rtlCol="0" anchor="ctr"/>
            <a:lstStyle/>
            <a:p>
              <a:pPr rtl="0"/>
              <a:endParaRPr lang="en-US" dirty="0"/>
            </a:p>
          </p:txBody>
        </p:sp>
        <p:sp>
          <p:nvSpPr>
            <p:cNvPr id="31" name="Freihandform: Form 30">
              <a:extLst>
                <a:ext uri="{FF2B5EF4-FFF2-40B4-BE49-F238E27FC236}">
                  <a16:creationId xmlns:a16="http://schemas.microsoft.com/office/drawing/2014/main" id="{E708ABD0-790C-43C1-84ED-8175CC87B7CB}"/>
                </a:ext>
              </a:extLst>
            </p:cNvPr>
            <p:cNvSpPr/>
            <p:nvPr/>
          </p:nvSpPr>
          <p:spPr bwMode="gray">
            <a:xfrm>
              <a:off x="5267908" y="4441411"/>
              <a:ext cx="1211777" cy="2423554"/>
            </a:xfrm>
            <a:custGeom>
              <a:avLst/>
              <a:gdLst>
                <a:gd name="connsiteX0" fmla="*/ 0 w 1211777"/>
                <a:gd name="connsiteY0" fmla="*/ 0 h 2423554"/>
                <a:gd name="connsiteX1" fmla="*/ 1211777 w 1211777"/>
                <a:gd name="connsiteY1" fmla="*/ 0 h 2423554"/>
                <a:gd name="connsiteX2" fmla="*/ 1211777 w 1211777"/>
                <a:gd name="connsiteY2" fmla="*/ 2423554 h 2423554"/>
                <a:gd name="connsiteX3" fmla="*/ 0 w 1211777"/>
                <a:gd name="connsiteY3" fmla="*/ 2423554 h 2423554"/>
              </a:gdLst>
              <a:ahLst/>
              <a:cxnLst>
                <a:cxn ang="0">
                  <a:pos x="connsiteX0" y="connsiteY0"/>
                </a:cxn>
                <a:cxn ang="0">
                  <a:pos x="connsiteX1" y="connsiteY1"/>
                </a:cxn>
                <a:cxn ang="0">
                  <a:pos x="connsiteX2" y="connsiteY2"/>
                </a:cxn>
                <a:cxn ang="0">
                  <a:pos x="connsiteX3" y="connsiteY3"/>
                </a:cxn>
              </a:cxnLst>
              <a:rect l="l" t="t" r="r" b="b"/>
              <a:pathLst>
                <a:path w="1211777" h="2423554">
                  <a:moveTo>
                    <a:pt x="0" y="0"/>
                  </a:moveTo>
                  <a:lnTo>
                    <a:pt x="1211777" y="0"/>
                  </a:lnTo>
                  <a:lnTo>
                    <a:pt x="1211777" y="2423554"/>
                  </a:lnTo>
                  <a:lnTo>
                    <a:pt x="0" y="2423554"/>
                  </a:lnTo>
                  <a:close/>
                </a:path>
              </a:pathLst>
            </a:custGeom>
            <a:gradFill>
              <a:gsLst>
                <a:gs pos="90000">
                  <a:schemeClr val="bg2"/>
                </a:gs>
                <a:gs pos="20000">
                  <a:srgbClr val="00CE7D"/>
                </a:gs>
              </a:gsLst>
              <a:lin ang="5400000" scaled="1"/>
            </a:gradFill>
            <a:ln w="12110" cap="flat">
              <a:noFill/>
              <a:prstDash val="solid"/>
              <a:miter/>
            </a:ln>
          </p:spPr>
          <p:txBody>
            <a:bodyPr rtlCol="0" anchor="ctr"/>
            <a:lstStyle/>
            <a:p>
              <a:pPr rtl="0"/>
              <a:endParaRPr lang="en-US" dirty="0"/>
            </a:p>
          </p:txBody>
        </p:sp>
        <p:sp>
          <p:nvSpPr>
            <p:cNvPr id="32" name="Freihandform: Form 31">
              <a:extLst>
                <a:ext uri="{FF2B5EF4-FFF2-40B4-BE49-F238E27FC236}">
                  <a16:creationId xmlns:a16="http://schemas.microsoft.com/office/drawing/2014/main" id="{1CDDECDE-B2C3-49EE-ACEE-E824431939D5}"/>
                </a:ext>
              </a:extLst>
            </p:cNvPr>
            <p:cNvSpPr/>
            <p:nvPr/>
          </p:nvSpPr>
          <p:spPr bwMode="gray">
            <a:xfrm>
              <a:off x="7691462" y="2744924"/>
              <a:ext cx="969421" cy="1696487"/>
            </a:xfrm>
            <a:custGeom>
              <a:avLst/>
              <a:gdLst>
                <a:gd name="connsiteX0" fmla="*/ 969422 w 969421"/>
                <a:gd name="connsiteY0" fmla="*/ 0 h 1696487"/>
                <a:gd name="connsiteX1" fmla="*/ 0 w 969421"/>
                <a:gd name="connsiteY1" fmla="*/ 0 h 1696487"/>
                <a:gd name="connsiteX2" fmla="*/ 0 w 969421"/>
                <a:gd name="connsiteY2" fmla="*/ 1696488 h 1696487"/>
                <a:gd name="connsiteX3" fmla="*/ 969422 w 969421"/>
                <a:gd name="connsiteY3" fmla="*/ 1211898 h 1696487"/>
                <a:gd name="connsiteX4" fmla="*/ 969422 w 969421"/>
                <a:gd name="connsiteY4" fmla="*/ 0 h 169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421" h="1696487">
                  <a:moveTo>
                    <a:pt x="969422" y="0"/>
                  </a:moveTo>
                  <a:lnTo>
                    <a:pt x="0" y="0"/>
                  </a:lnTo>
                  <a:lnTo>
                    <a:pt x="0" y="1696488"/>
                  </a:lnTo>
                  <a:cubicBezTo>
                    <a:pt x="396372" y="1696488"/>
                    <a:pt x="748394" y="1506118"/>
                    <a:pt x="969422" y="1211898"/>
                  </a:cubicBezTo>
                  <a:lnTo>
                    <a:pt x="969422" y="0"/>
                  </a:lnTo>
                  <a:close/>
                </a:path>
              </a:pathLst>
            </a:custGeom>
            <a:solidFill>
              <a:srgbClr val="201751"/>
            </a:solidFill>
            <a:ln w="12110" cap="flat">
              <a:noFill/>
              <a:prstDash val="solid"/>
              <a:miter/>
            </a:ln>
          </p:spPr>
          <p:txBody>
            <a:bodyPr rtlCol="0" anchor="ctr"/>
            <a:lstStyle/>
            <a:p>
              <a:pPr rtl="0"/>
              <a:endParaRPr lang="en-US" dirty="0"/>
            </a:p>
          </p:txBody>
        </p:sp>
        <p:sp>
          <p:nvSpPr>
            <p:cNvPr id="33" name="Freihandform: Form 32">
              <a:extLst>
                <a:ext uri="{FF2B5EF4-FFF2-40B4-BE49-F238E27FC236}">
                  <a16:creationId xmlns:a16="http://schemas.microsoft.com/office/drawing/2014/main" id="{E7A91B63-ABB8-431C-8DC5-318EADCEA8A7}"/>
                </a:ext>
              </a:extLst>
            </p:cNvPr>
            <p:cNvSpPr/>
            <p:nvPr/>
          </p:nvSpPr>
          <p:spPr bwMode="gray">
            <a:xfrm>
              <a:off x="7691462" y="5895544"/>
              <a:ext cx="969421" cy="969421"/>
            </a:xfrm>
            <a:custGeom>
              <a:avLst/>
              <a:gdLst>
                <a:gd name="connsiteX0" fmla="*/ 0 w 969421"/>
                <a:gd name="connsiteY0" fmla="*/ 969422 h 969421"/>
                <a:gd name="connsiteX1" fmla="*/ 969422 w 969421"/>
                <a:gd name="connsiteY1" fmla="*/ 969422 h 969421"/>
                <a:gd name="connsiteX2" fmla="*/ 969422 w 969421"/>
                <a:gd name="connsiteY2" fmla="*/ 0 h 969421"/>
              </a:gdLst>
              <a:ahLst/>
              <a:cxnLst>
                <a:cxn ang="0">
                  <a:pos x="connsiteX0" y="connsiteY0"/>
                </a:cxn>
                <a:cxn ang="0">
                  <a:pos x="connsiteX1" y="connsiteY1"/>
                </a:cxn>
                <a:cxn ang="0">
                  <a:pos x="connsiteX2" y="connsiteY2"/>
                </a:cxn>
              </a:cxnLst>
              <a:rect l="l" t="t" r="r" b="b"/>
              <a:pathLst>
                <a:path w="969421" h="969421">
                  <a:moveTo>
                    <a:pt x="0" y="969422"/>
                  </a:moveTo>
                  <a:lnTo>
                    <a:pt x="969422" y="969422"/>
                  </a:lnTo>
                  <a:lnTo>
                    <a:pt x="969422" y="0"/>
                  </a:lnTo>
                  <a:close/>
                </a:path>
              </a:pathLst>
            </a:custGeom>
            <a:solidFill>
              <a:srgbClr val="201751"/>
            </a:solidFill>
            <a:ln w="12110" cap="flat">
              <a:noFill/>
              <a:prstDash val="solid"/>
              <a:miter/>
            </a:ln>
          </p:spPr>
          <p:txBody>
            <a:bodyPr rtlCol="0" anchor="ctr"/>
            <a:lstStyle/>
            <a:p>
              <a:pPr rtl="0"/>
              <a:endParaRPr lang="en-US" dirty="0"/>
            </a:p>
          </p:txBody>
        </p:sp>
        <p:sp>
          <p:nvSpPr>
            <p:cNvPr id="34" name="Freihandform: Form 33">
              <a:extLst>
                <a:ext uri="{FF2B5EF4-FFF2-40B4-BE49-F238E27FC236}">
                  <a16:creationId xmlns:a16="http://schemas.microsoft.com/office/drawing/2014/main" id="{42AE8AFB-D670-4E0D-A62C-E61AED66A362}"/>
                </a:ext>
              </a:extLst>
            </p:cNvPr>
            <p:cNvSpPr/>
            <p:nvPr/>
          </p:nvSpPr>
          <p:spPr bwMode="gray">
            <a:xfrm>
              <a:off x="6479685" y="4441411"/>
              <a:ext cx="2181198" cy="2423554"/>
            </a:xfrm>
            <a:custGeom>
              <a:avLst/>
              <a:gdLst>
                <a:gd name="connsiteX0" fmla="*/ 2181199 w 2181198"/>
                <a:gd name="connsiteY0" fmla="*/ 0 h 2423554"/>
                <a:gd name="connsiteX1" fmla="*/ 1211777 w 2181198"/>
                <a:gd name="connsiteY1" fmla="*/ 0 h 2423554"/>
                <a:gd name="connsiteX2" fmla="*/ 0 w 2181198"/>
                <a:gd name="connsiteY2" fmla="*/ 1211777 h 2423554"/>
                <a:gd name="connsiteX3" fmla="*/ 0 w 2181198"/>
                <a:gd name="connsiteY3" fmla="*/ 2423554 h 2423554"/>
                <a:gd name="connsiteX4" fmla="*/ 2181199 w 2181198"/>
                <a:gd name="connsiteY4" fmla="*/ 242355 h 242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1198" h="2423554">
                  <a:moveTo>
                    <a:pt x="2181199" y="0"/>
                  </a:moveTo>
                  <a:lnTo>
                    <a:pt x="1211777" y="0"/>
                  </a:lnTo>
                  <a:lnTo>
                    <a:pt x="0" y="1211777"/>
                  </a:lnTo>
                  <a:lnTo>
                    <a:pt x="0" y="2423554"/>
                  </a:lnTo>
                  <a:lnTo>
                    <a:pt x="2181199" y="242355"/>
                  </a:lnTo>
                  <a:close/>
                </a:path>
              </a:pathLst>
            </a:custGeom>
            <a:gradFill flip="none" rotWithShape="1">
              <a:gsLst>
                <a:gs pos="19000">
                  <a:srgbClr val="F3F3F3"/>
                </a:gs>
                <a:gs pos="80000">
                  <a:srgbClr val="00CE7D"/>
                </a:gs>
              </a:gsLst>
              <a:lin ang="5400000" scaled="1"/>
              <a:tileRect/>
            </a:gradFill>
            <a:ln w="12110" cap="flat">
              <a:noFill/>
              <a:prstDash val="solid"/>
              <a:miter/>
            </a:ln>
          </p:spPr>
          <p:txBody>
            <a:bodyPr rtlCol="0" anchor="ctr"/>
            <a:lstStyle/>
            <a:p>
              <a:pPr rtl="0"/>
              <a:endParaRPr lang="en-US" dirty="0"/>
            </a:p>
          </p:txBody>
        </p:sp>
      </p:grpSp>
      <p:pic>
        <p:nvPicPr>
          <p:cNvPr id="38" name="Grafik 37">
            <a:extLst>
              <a:ext uri="{FF2B5EF4-FFF2-40B4-BE49-F238E27FC236}">
                <a16:creationId xmlns:a16="http://schemas.microsoft.com/office/drawing/2014/main" id="{7E81EE69-1B45-4EBF-B7F2-9648BE3DB9D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bwMode="gray">
          <a:xfrm>
            <a:off x="601200" y="476936"/>
            <a:ext cx="3638169" cy="329870"/>
          </a:xfrm>
          <a:prstGeom prst="rect">
            <a:avLst/>
          </a:prstGeom>
        </p:spPr>
      </p:pic>
      <p:grpSp>
        <p:nvGrpSpPr>
          <p:cNvPr id="16" name="Gruppieren 15">
            <a:extLst>
              <a:ext uri="{FF2B5EF4-FFF2-40B4-BE49-F238E27FC236}">
                <a16:creationId xmlns:a16="http://schemas.microsoft.com/office/drawing/2014/main" id="{48B0F1F5-32CB-46FB-A57C-768A45D8E96A}"/>
              </a:ext>
            </a:extLst>
          </p:cNvPr>
          <p:cNvGrpSpPr/>
          <p:nvPr/>
        </p:nvGrpSpPr>
        <p:grpSpPr bwMode="gray">
          <a:xfrm>
            <a:off x="10804526" y="1"/>
            <a:ext cx="809625" cy="1135063"/>
            <a:chOff x="10804526" y="1"/>
            <a:chExt cx="809625" cy="1135063"/>
          </a:xfrm>
        </p:grpSpPr>
        <p:sp>
          <p:nvSpPr>
            <p:cNvPr id="17" name="Freihandform: Form 16">
              <a:extLst>
                <a:ext uri="{FF2B5EF4-FFF2-40B4-BE49-F238E27FC236}">
                  <a16:creationId xmlns:a16="http://schemas.microsoft.com/office/drawing/2014/main" id="{87DEB9FA-5B33-4F7B-BC80-69B778EE8707}"/>
                </a:ext>
              </a:extLst>
            </p:cNvPr>
            <p:cNvSpPr/>
            <p:nvPr userDrawn="1"/>
          </p:nvSpPr>
          <p:spPr bwMode="gray">
            <a:xfrm>
              <a:off x="10804526" y="1"/>
              <a:ext cx="809625" cy="1135063"/>
            </a:xfrm>
            <a:custGeom>
              <a:avLst/>
              <a:gdLst>
                <a:gd name="connsiteX0" fmla="*/ 0 w 809625"/>
                <a:gd name="connsiteY0" fmla="*/ 0 h 1135063"/>
                <a:gd name="connsiteX1" fmla="*/ 809625 w 809625"/>
                <a:gd name="connsiteY1" fmla="*/ 0 h 1135063"/>
                <a:gd name="connsiteX2" fmla="*/ 809625 w 809625"/>
                <a:gd name="connsiteY2" fmla="*/ 730422 h 1135063"/>
                <a:gd name="connsiteX3" fmla="*/ 404813 w 809625"/>
                <a:gd name="connsiteY3" fmla="*/ 1135063 h 1135063"/>
                <a:gd name="connsiteX4" fmla="*/ 0 w 809625"/>
                <a:gd name="connsiteY4" fmla="*/ 730422 h 1135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1135063">
                  <a:moveTo>
                    <a:pt x="0" y="0"/>
                  </a:moveTo>
                  <a:lnTo>
                    <a:pt x="809625" y="0"/>
                  </a:lnTo>
                  <a:lnTo>
                    <a:pt x="809625" y="730422"/>
                  </a:lnTo>
                  <a:cubicBezTo>
                    <a:pt x="809625" y="953908"/>
                    <a:pt x="628489" y="1135063"/>
                    <a:pt x="404813" y="1135063"/>
                  </a:cubicBezTo>
                  <a:cubicBezTo>
                    <a:pt x="181308" y="1135063"/>
                    <a:pt x="0" y="953908"/>
                    <a:pt x="0" y="730422"/>
                  </a:cubicBezTo>
                  <a:close/>
                </a:path>
              </a:pathLst>
            </a:custGeom>
            <a:solidFill>
              <a:srgbClr val="20175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bIns="79200" rtlCol="0" anchor="ctr">
              <a:noAutofit/>
            </a:bodyPr>
            <a:lstStyle/>
            <a:p>
              <a:pPr algn="ctr" rtl="0"/>
              <a:endParaRPr lang="en-US" sz="1400" dirty="0"/>
            </a:p>
          </p:txBody>
        </p:sp>
        <p:sp>
          <p:nvSpPr>
            <p:cNvPr id="18" name="Freeform 17">
              <a:extLst>
                <a:ext uri="{FF2B5EF4-FFF2-40B4-BE49-F238E27FC236}">
                  <a16:creationId xmlns:a16="http://schemas.microsoft.com/office/drawing/2014/main" id="{A9F4E9F1-87F8-406C-AC6D-E67BCDA1A594}"/>
                </a:ext>
              </a:extLst>
            </p:cNvPr>
            <p:cNvSpPr>
              <a:spLocks noEditPoints="1"/>
            </p:cNvSpPr>
            <p:nvPr userDrawn="1"/>
          </p:nvSpPr>
          <p:spPr bwMode="gray">
            <a:xfrm>
              <a:off x="10929938" y="487363"/>
              <a:ext cx="595313" cy="320675"/>
            </a:xfrm>
            <a:custGeom>
              <a:avLst/>
              <a:gdLst>
                <a:gd name="T0" fmla="*/ 3270 w 3471"/>
                <a:gd name="T1" fmla="*/ 1872 h 1872"/>
                <a:gd name="T2" fmla="*/ 3137 w 3471"/>
                <a:gd name="T3" fmla="*/ 1817 h 1872"/>
                <a:gd name="T4" fmla="*/ 2679 w 3471"/>
                <a:gd name="T5" fmla="*/ 1358 h 1872"/>
                <a:gd name="T6" fmla="*/ 2677 w 3471"/>
                <a:gd name="T7" fmla="*/ 1096 h 1872"/>
                <a:gd name="T8" fmla="*/ 2806 w 3471"/>
                <a:gd name="T9" fmla="*/ 1042 h 1872"/>
                <a:gd name="T10" fmla="*/ 2939 w 3471"/>
                <a:gd name="T11" fmla="*/ 1098 h 1872"/>
                <a:gd name="T12" fmla="*/ 3397 w 3471"/>
                <a:gd name="T13" fmla="*/ 1557 h 1872"/>
                <a:gd name="T14" fmla="*/ 3452 w 3471"/>
                <a:gd name="T15" fmla="*/ 1688 h 1872"/>
                <a:gd name="T16" fmla="*/ 3399 w 3471"/>
                <a:gd name="T17" fmla="*/ 1819 h 1872"/>
                <a:gd name="T18" fmla="*/ 3270 w 3471"/>
                <a:gd name="T19" fmla="*/ 1872 h 1872"/>
                <a:gd name="T20" fmla="*/ 3270 w 3471"/>
                <a:gd name="T21" fmla="*/ 1872 h 1872"/>
                <a:gd name="T22" fmla="*/ 1787 w 3471"/>
                <a:gd name="T23" fmla="*/ 1872 h 1872"/>
                <a:gd name="T24" fmla="*/ 1658 w 3471"/>
                <a:gd name="T25" fmla="*/ 1819 h 1872"/>
                <a:gd name="T26" fmla="*/ 1605 w 3471"/>
                <a:gd name="T27" fmla="*/ 1688 h 1872"/>
                <a:gd name="T28" fmla="*/ 1660 w 3471"/>
                <a:gd name="T29" fmla="*/ 1557 h 1872"/>
                <a:gd name="T30" fmla="*/ 2119 w 3471"/>
                <a:gd name="T31" fmla="*/ 1098 h 1872"/>
                <a:gd name="T32" fmla="*/ 2252 w 3471"/>
                <a:gd name="T33" fmla="*/ 1042 h 1872"/>
                <a:gd name="T34" fmla="*/ 2381 w 3471"/>
                <a:gd name="T35" fmla="*/ 1096 h 1872"/>
                <a:gd name="T36" fmla="*/ 2379 w 3471"/>
                <a:gd name="T37" fmla="*/ 1358 h 1872"/>
                <a:gd name="T38" fmla="*/ 1920 w 3471"/>
                <a:gd name="T39" fmla="*/ 1817 h 1872"/>
                <a:gd name="T40" fmla="*/ 1787 w 3471"/>
                <a:gd name="T41" fmla="*/ 1872 h 1872"/>
                <a:gd name="T42" fmla="*/ 1787 w 3471"/>
                <a:gd name="T43" fmla="*/ 1872 h 1872"/>
                <a:gd name="T44" fmla="*/ 196 w 3471"/>
                <a:gd name="T45" fmla="*/ 1857 h 1872"/>
                <a:gd name="T46" fmla="*/ 0 w 3471"/>
                <a:gd name="T47" fmla="*/ 1662 h 1872"/>
                <a:gd name="T48" fmla="*/ 0 w 3471"/>
                <a:gd name="T49" fmla="*/ 211 h 1872"/>
                <a:gd name="T50" fmla="*/ 196 w 3471"/>
                <a:gd name="T51" fmla="*/ 16 h 1872"/>
                <a:gd name="T52" fmla="*/ 1219 w 3471"/>
                <a:gd name="T53" fmla="*/ 16 h 1872"/>
                <a:gd name="T54" fmla="*/ 1390 w 3471"/>
                <a:gd name="T55" fmla="*/ 185 h 1872"/>
                <a:gd name="T56" fmla="*/ 1219 w 3471"/>
                <a:gd name="T57" fmla="*/ 354 h 1872"/>
                <a:gd name="T58" fmla="*/ 372 w 3471"/>
                <a:gd name="T59" fmla="*/ 354 h 1872"/>
                <a:gd name="T60" fmla="*/ 372 w 3471"/>
                <a:gd name="T61" fmla="*/ 1518 h 1872"/>
                <a:gd name="T62" fmla="*/ 1232 w 3471"/>
                <a:gd name="T63" fmla="*/ 1518 h 1872"/>
                <a:gd name="T64" fmla="*/ 1404 w 3471"/>
                <a:gd name="T65" fmla="*/ 1688 h 1872"/>
                <a:gd name="T66" fmla="*/ 1232 w 3471"/>
                <a:gd name="T67" fmla="*/ 1857 h 1872"/>
                <a:gd name="T68" fmla="*/ 196 w 3471"/>
                <a:gd name="T69" fmla="*/ 1857 h 1872"/>
                <a:gd name="T70" fmla="*/ 590 w 3471"/>
                <a:gd name="T71" fmla="*/ 1099 h 1872"/>
                <a:gd name="T72" fmla="*/ 590 w 3471"/>
                <a:gd name="T73" fmla="*/ 761 h 1872"/>
                <a:gd name="T74" fmla="*/ 1628 w 3471"/>
                <a:gd name="T75" fmla="*/ 761 h 1872"/>
                <a:gd name="T76" fmla="*/ 1800 w 3471"/>
                <a:gd name="T77" fmla="*/ 930 h 1872"/>
                <a:gd name="T78" fmla="*/ 1628 w 3471"/>
                <a:gd name="T79" fmla="*/ 1099 h 1872"/>
                <a:gd name="T80" fmla="*/ 590 w 3471"/>
                <a:gd name="T81" fmla="*/ 1099 h 1872"/>
                <a:gd name="T82" fmla="*/ 2806 w 3471"/>
                <a:gd name="T83" fmla="*/ 831 h 1872"/>
                <a:gd name="T84" fmla="*/ 2677 w 3471"/>
                <a:gd name="T85" fmla="*/ 777 h 1872"/>
                <a:gd name="T86" fmla="*/ 2679 w 3471"/>
                <a:gd name="T87" fmla="*/ 515 h 1872"/>
                <a:gd name="T88" fmla="*/ 3137 w 3471"/>
                <a:gd name="T89" fmla="*/ 56 h 1872"/>
                <a:gd name="T90" fmla="*/ 3270 w 3471"/>
                <a:gd name="T91" fmla="*/ 0 h 1872"/>
                <a:gd name="T92" fmla="*/ 3399 w 3471"/>
                <a:gd name="T93" fmla="*/ 54 h 1872"/>
                <a:gd name="T94" fmla="*/ 3397 w 3471"/>
                <a:gd name="T95" fmla="*/ 316 h 1872"/>
                <a:gd name="T96" fmla="*/ 2939 w 3471"/>
                <a:gd name="T97" fmla="*/ 775 h 1872"/>
                <a:gd name="T98" fmla="*/ 2806 w 3471"/>
                <a:gd name="T99" fmla="*/ 831 h 1872"/>
                <a:gd name="T100" fmla="*/ 2252 w 3471"/>
                <a:gd name="T101" fmla="*/ 831 h 1872"/>
                <a:gd name="T102" fmla="*/ 2119 w 3471"/>
                <a:gd name="T103" fmla="*/ 775 h 1872"/>
                <a:gd name="T104" fmla="*/ 1660 w 3471"/>
                <a:gd name="T105" fmla="*/ 316 h 1872"/>
                <a:gd name="T106" fmla="*/ 1658 w 3471"/>
                <a:gd name="T107" fmla="*/ 54 h 1872"/>
                <a:gd name="T108" fmla="*/ 1787 w 3471"/>
                <a:gd name="T109" fmla="*/ 0 h 1872"/>
                <a:gd name="T110" fmla="*/ 1920 w 3471"/>
                <a:gd name="T111" fmla="*/ 56 h 1872"/>
                <a:gd name="T112" fmla="*/ 2379 w 3471"/>
                <a:gd name="T113" fmla="*/ 515 h 1872"/>
                <a:gd name="T114" fmla="*/ 2381 w 3471"/>
                <a:gd name="T115" fmla="*/ 777 h 1872"/>
                <a:gd name="T116" fmla="*/ 2252 w 3471"/>
                <a:gd name="T117" fmla="*/ 831 h 1872"/>
                <a:gd name="T118" fmla="*/ 2252 w 3471"/>
                <a:gd name="T119" fmla="*/ 831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71" h="1872">
                  <a:moveTo>
                    <a:pt x="3270" y="1872"/>
                  </a:moveTo>
                  <a:cubicBezTo>
                    <a:pt x="3220" y="1872"/>
                    <a:pt x="3173" y="1853"/>
                    <a:pt x="3137" y="1817"/>
                  </a:cubicBezTo>
                  <a:lnTo>
                    <a:pt x="2679" y="1358"/>
                  </a:lnTo>
                  <a:cubicBezTo>
                    <a:pt x="2606" y="1285"/>
                    <a:pt x="2605" y="1167"/>
                    <a:pt x="2677" y="1096"/>
                  </a:cubicBezTo>
                  <a:cubicBezTo>
                    <a:pt x="2711" y="1061"/>
                    <a:pt x="2757" y="1042"/>
                    <a:pt x="2806" y="1042"/>
                  </a:cubicBezTo>
                  <a:cubicBezTo>
                    <a:pt x="2856" y="1042"/>
                    <a:pt x="2903" y="1062"/>
                    <a:pt x="2939" y="1098"/>
                  </a:cubicBezTo>
                  <a:lnTo>
                    <a:pt x="3397" y="1557"/>
                  </a:lnTo>
                  <a:cubicBezTo>
                    <a:pt x="3432" y="1592"/>
                    <a:pt x="3452" y="1639"/>
                    <a:pt x="3452" y="1688"/>
                  </a:cubicBezTo>
                  <a:cubicBezTo>
                    <a:pt x="3453" y="1738"/>
                    <a:pt x="3434" y="1784"/>
                    <a:pt x="3399" y="1819"/>
                  </a:cubicBezTo>
                  <a:cubicBezTo>
                    <a:pt x="3365" y="1854"/>
                    <a:pt x="3319" y="1872"/>
                    <a:pt x="3270" y="1872"/>
                  </a:cubicBezTo>
                  <a:lnTo>
                    <a:pt x="3270" y="1872"/>
                  </a:lnTo>
                  <a:close/>
                  <a:moveTo>
                    <a:pt x="1787" y="1872"/>
                  </a:moveTo>
                  <a:cubicBezTo>
                    <a:pt x="1739" y="1872"/>
                    <a:pt x="1693" y="1854"/>
                    <a:pt x="1658" y="1819"/>
                  </a:cubicBezTo>
                  <a:cubicBezTo>
                    <a:pt x="1624" y="1784"/>
                    <a:pt x="1605" y="1738"/>
                    <a:pt x="1605" y="1688"/>
                  </a:cubicBezTo>
                  <a:cubicBezTo>
                    <a:pt x="1605" y="1639"/>
                    <a:pt x="1625" y="1592"/>
                    <a:pt x="1660" y="1557"/>
                  </a:cubicBezTo>
                  <a:lnTo>
                    <a:pt x="2119" y="1098"/>
                  </a:lnTo>
                  <a:cubicBezTo>
                    <a:pt x="2154" y="1062"/>
                    <a:pt x="2202" y="1042"/>
                    <a:pt x="2252" y="1042"/>
                  </a:cubicBezTo>
                  <a:cubicBezTo>
                    <a:pt x="2300" y="1042"/>
                    <a:pt x="2346" y="1061"/>
                    <a:pt x="2381" y="1096"/>
                  </a:cubicBezTo>
                  <a:cubicBezTo>
                    <a:pt x="2452" y="1167"/>
                    <a:pt x="2451" y="1285"/>
                    <a:pt x="2379" y="1358"/>
                  </a:cubicBezTo>
                  <a:lnTo>
                    <a:pt x="1920" y="1817"/>
                  </a:lnTo>
                  <a:cubicBezTo>
                    <a:pt x="1885" y="1853"/>
                    <a:pt x="1837" y="1872"/>
                    <a:pt x="1787" y="1872"/>
                  </a:cubicBezTo>
                  <a:cubicBezTo>
                    <a:pt x="1787" y="1872"/>
                    <a:pt x="1787" y="1872"/>
                    <a:pt x="1787" y="1872"/>
                  </a:cubicBezTo>
                  <a:close/>
                  <a:moveTo>
                    <a:pt x="196" y="1857"/>
                  </a:moveTo>
                  <a:cubicBezTo>
                    <a:pt x="87" y="1857"/>
                    <a:pt x="0" y="1771"/>
                    <a:pt x="0" y="1662"/>
                  </a:cubicBezTo>
                  <a:lnTo>
                    <a:pt x="0" y="211"/>
                  </a:lnTo>
                  <a:cubicBezTo>
                    <a:pt x="0" y="102"/>
                    <a:pt x="87" y="16"/>
                    <a:pt x="196" y="16"/>
                  </a:cubicBezTo>
                  <a:lnTo>
                    <a:pt x="1219" y="16"/>
                  </a:lnTo>
                  <a:cubicBezTo>
                    <a:pt x="1313" y="16"/>
                    <a:pt x="1390" y="92"/>
                    <a:pt x="1390" y="185"/>
                  </a:cubicBezTo>
                  <a:cubicBezTo>
                    <a:pt x="1390" y="278"/>
                    <a:pt x="1313" y="354"/>
                    <a:pt x="1219" y="354"/>
                  </a:cubicBezTo>
                  <a:lnTo>
                    <a:pt x="372" y="354"/>
                  </a:lnTo>
                  <a:lnTo>
                    <a:pt x="372" y="1518"/>
                  </a:lnTo>
                  <a:lnTo>
                    <a:pt x="1232" y="1518"/>
                  </a:lnTo>
                  <a:cubicBezTo>
                    <a:pt x="1327" y="1518"/>
                    <a:pt x="1404" y="1594"/>
                    <a:pt x="1404" y="1688"/>
                  </a:cubicBezTo>
                  <a:cubicBezTo>
                    <a:pt x="1404" y="1781"/>
                    <a:pt x="1327" y="1857"/>
                    <a:pt x="1232" y="1857"/>
                  </a:cubicBezTo>
                  <a:lnTo>
                    <a:pt x="196" y="1857"/>
                  </a:lnTo>
                  <a:close/>
                  <a:moveTo>
                    <a:pt x="590" y="1099"/>
                  </a:moveTo>
                  <a:lnTo>
                    <a:pt x="590" y="761"/>
                  </a:lnTo>
                  <a:lnTo>
                    <a:pt x="1628" y="761"/>
                  </a:lnTo>
                  <a:cubicBezTo>
                    <a:pt x="1723" y="761"/>
                    <a:pt x="1800" y="837"/>
                    <a:pt x="1800" y="930"/>
                  </a:cubicBezTo>
                  <a:cubicBezTo>
                    <a:pt x="1800" y="1023"/>
                    <a:pt x="1723" y="1099"/>
                    <a:pt x="1628" y="1099"/>
                  </a:cubicBezTo>
                  <a:lnTo>
                    <a:pt x="590" y="1099"/>
                  </a:lnTo>
                  <a:close/>
                  <a:moveTo>
                    <a:pt x="2806" y="831"/>
                  </a:moveTo>
                  <a:cubicBezTo>
                    <a:pt x="2757" y="831"/>
                    <a:pt x="2711" y="812"/>
                    <a:pt x="2677" y="777"/>
                  </a:cubicBezTo>
                  <a:cubicBezTo>
                    <a:pt x="2605" y="706"/>
                    <a:pt x="2606" y="588"/>
                    <a:pt x="2679" y="515"/>
                  </a:cubicBezTo>
                  <a:lnTo>
                    <a:pt x="3137" y="56"/>
                  </a:lnTo>
                  <a:cubicBezTo>
                    <a:pt x="3173" y="20"/>
                    <a:pt x="3220" y="0"/>
                    <a:pt x="3270" y="0"/>
                  </a:cubicBezTo>
                  <a:cubicBezTo>
                    <a:pt x="3319" y="0"/>
                    <a:pt x="3365" y="19"/>
                    <a:pt x="3399" y="54"/>
                  </a:cubicBezTo>
                  <a:cubicBezTo>
                    <a:pt x="3471" y="126"/>
                    <a:pt x="3470" y="243"/>
                    <a:pt x="3397" y="316"/>
                  </a:cubicBezTo>
                  <a:lnTo>
                    <a:pt x="2939" y="775"/>
                  </a:lnTo>
                  <a:cubicBezTo>
                    <a:pt x="2903" y="811"/>
                    <a:pt x="2856" y="831"/>
                    <a:pt x="2806" y="831"/>
                  </a:cubicBezTo>
                  <a:close/>
                  <a:moveTo>
                    <a:pt x="2252" y="831"/>
                  </a:moveTo>
                  <a:cubicBezTo>
                    <a:pt x="2202" y="831"/>
                    <a:pt x="2154" y="811"/>
                    <a:pt x="2119" y="775"/>
                  </a:cubicBezTo>
                  <a:lnTo>
                    <a:pt x="1660" y="316"/>
                  </a:lnTo>
                  <a:cubicBezTo>
                    <a:pt x="1588" y="243"/>
                    <a:pt x="1587" y="126"/>
                    <a:pt x="1658" y="54"/>
                  </a:cubicBezTo>
                  <a:cubicBezTo>
                    <a:pt x="1693" y="19"/>
                    <a:pt x="1739" y="0"/>
                    <a:pt x="1787" y="0"/>
                  </a:cubicBezTo>
                  <a:cubicBezTo>
                    <a:pt x="1837" y="0"/>
                    <a:pt x="1885" y="20"/>
                    <a:pt x="1920" y="56"/>
                  </a:cubicBezTo>
                  <a:lnTo>
                    <a:pt x="2379" y="515"/>
                  </a:lnTo>
                  <a:cubicBezTo>
                    <a:pt x="2451" y="588"/>
                    <a:pt x="2452" y="706"/>
                    <a:pt x="2381" y="777"/>
                  </a:cubicBezTo>
                  <a:cubicBezTo>
                    <a:pt x="2346" y="812"/>
                    <a:pt x="2300" y="831"/>
                    <a:pt x="2252" y="831"/>
                  </a:cubicBezTo>
                  <a:lnTo>
                    <a:pt x="2252" y="83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US" dirty="0"/>
            </a:p>
          </p:txBody>
        </p:sp>
      </p:grpSp>
    </p:spTree>
    <p:extLst>
      <p:ext uri="{BB962C8B-B14F-4D97-AF65-F5344CB8AC3E}">
        <p14:creationId xmlns:p14="http://schemas.microsoft.com/office/powerpoint/2010/main" val="391509116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 Blue">
    <p:bg bwMode="auto">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5C492C4-0AE2-4403-87B6-3B7AC030653F}"/>
              </a:ext>
            </a:extLst>
          </p:cNvPr>
          <p:cNvGraphicFramePr>
            <a:graphicFrameLocks noChangeAspect="1"/>
          </p:cNvGraphicFramePr>
          <p:nvPr userDrawn="1">
            <p:custDataLst>
              <p:tags r:id="rId2"/>
            </p:custDataLst>
            <p:extLst>
              <p:ext uri="{D42A27DB-BD31-4B8C-83A1-F6EECF244321}">
                <p14:modId xmlns:p14="http://schemas.microsoft.com/office/powerpoint/2010/main" val="1756189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49" name="think-cell Folie" r:id="rId4" imgW="359" imgH="358" progId="TCLayout.ActiveDocument.1">
                  <p:embed/>
                </p:oleObj>
              </mc:Choice>
              <mc:Fallback>
                <p:oleObj name="think-cell Folie" r:id="rId4" imgW="359" imgH="358" progId="TCLayout.ActiveDocument.1">
                  <p:embed/>
                  <p:pic>
                    <p:nvPicPr>
                      <p:cNvPr id="5" name="Objekt 4" hidden="1">
                        <a:extLst>
                          <a:ext uri="{FF2B5EF4-FFF2-40B4-BE49-F238E27FC236}">
                            <a16:creationId xmlns:a16="http://schemas.microsoft.com/office/drawing/2014/main" id="{A5C492C4-0AE2-4403-87B6-3B7AC03065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DFFA6D0-AB8A-4F44-9727-A1CE86F10CC6}"/>
              </a:ext>
            </a:extLst>
          </p:cNvPr>
          <p:cNvSpPr>
            <a:spLocks noGrp="1"/>
          </p:cNvSpPr>
          <p:nvPr>
            <p:ph type="title" hasCustomPrompt="1"/>
          </p:nvPr>
        </p:nvSpPr>
        <p:spPr bwMode="gray">
          <a:xfrm>
            <a:off x="1566774" y="1923421"/>
            <a:ext cx="5256213" cy="1569887"/>
          </a:xfrm>
        </p:spPr>
        <p:txBody>
          <a:bodyPr vert="horz"/>
          <a:lstStyle>
            <a:lvl1pPr rtl="0">
              <a:lnSpc>
                <a:spcPct val="100000"/>
              </a:lnSpc>
              <a:defRPr sz="3800" b="1">
                <a:solidFill>
                  <a:schemeClr val="tx1"/>
                </a:solidFill>
              </a:defRPr>
            </a:lvl1pPr>
          </a:lstStyle>
          <a:p>
            <a:r>
              <a:rPr lang="en-US" noProof="0" dirty="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rtl="0">
              <a:lnSpc>
                <a:spcPct val="100000"/>
              </a:lnSpc>
              <a:buNone/>
              <a:defRPr sz="10400" b="1">
                <a:solidFill>
                  <a:schemeClr val="tx1"/>
                </a:solidFill>
              </a:defRPr>
            </a:lvl1pPr>
          </a:lstStyle>
          <a:p>
            <a:pPr lvl="0"/>
            <a:r>
              <a:rPr lang="en-US" noProof="0" dirty="0"/>
              <a:t>0</a:t>
            </a:r>
          </a:p>
        </p:txBody>
      </p:sp>
      <p:grpSp>
        <p:nvGrpSpPr>
          <p:cNvPr id="23" name="Gruppieren 22">
            <a:extLst>
              <a:ext uri="{FF2B5EF4-FFF2-40B4-BE49-F238E27FC236}">
                <a16:creationId xmlns:a16="http://schemas.microsoft.com/office/drawing/2014/main" id="{A7A32B11-6251-44A6-A455-7582171F1494}"/>
              </a:ext>
            </a:extLst>
          </p:cNvPr>
          <p:cNvGrpSpPr>
            <a:grpSpLocks noChangeAspect="1"/>
          </p:cNvGrpSpPr>
          <p:nvPr/>
        </p:nvGrpSpPr>
        <p:grpSpPr bwMode="gray">
          <a:xfrm>
            <a:off x="10473990" y="2060575"/>
            <a:ext cx="1718009" cy="2577013"/>
            <a:chOff x="10473990" y="2384884"/>
            <a:chExt cx="1718009" cy="2577013"/>
          </a:xfrm>
        </p:grpSpPr>
        <p:sp>
          <p:nvSpPr>
            <p:cNvPr id="24" name="Freihandform: Form 23">
              <a:extLst>
                <a:ext uri="{FF2B5EF4-FFF2-40B4-BE49-F238E27FC236}">
                  <a16:creationId xmlns:a16="http://schemas.microsoft.com/office/drawing/2014/main" id="{FE4E3F4A-92EE-40B8-83C3-F687E3836A35}"/>
                </a:ext>
              </a:extLst>
            </p:cNvPr>
            <p:cNvSpPr/>
            <p:nvPr/>
          </p:nvSpPr>
          <p:spPr bwMode="gray">
            <a:xfrm>
              <a:off x="10473990" y="4102893"/>
              <a:ext cx="859004" cy="859004"/>
            </a:xfrm>
            <a:custGeom>
              <a:avLst/>
              <a:gdLst>
                <a:gd name="connsiteX0" fmla="*/ 0 w 859004"/>
                <a:gd name="connsiteY0" fmla="*/ 0 h 859004"/>
                <a:gd name="connsiteX1" fmla="*/ 859005 w 859004"/>
                <a:gd name="connsiteY1" fmla="*/ 0 h 859004"/>
                <a:gd name="connsiteX2" fmla="*/ 859005 w 859004"/>
                <a:gd name="connsiteY2" fmla="*/ 859005 h 859004"/>
                <a:gd name="connsiteX3" fmla="*/ 0 w 859004"/>
                <a:gd name="connsiteY3" fmla="*/ 859005 h 859004"/>
              </a:gdLst>
              <a:ahLst/>
              <a:cxnLst>
                <a:cxn ang="0">
                  <a:pos x="connsiteX0" y="connsiteY0"/>
                </a:cxn>
                <a:cxn ang="0">
                  <a:pos x="connsiteX1" y="connsiteY1"/>
                </a:cxn>
                <a:cxn ang="0">
                  <a:pos x="connsiteX2" y="connsiteY2"/>
                </a:cxn>
                <a:cxn ang="0">
                  <a:pos x="connsiteX3" y="connsiteY3"/>
                </a:cxn>
              </a:cxnLst>
              <a:rect l="l" t="t" r="r" b="b"/>
              <a:pathLst>
                <a:path w="859004" h="859004">
                  <a:moveTo>
                    <a:pt x="0" y="0"/>
                  </a:moveTo>
                  <a:lnTo>
                    <a:pt x="859005" y="0"/>
                  </a:lnTo>
                  <a:lnTo>
                    <a:pt x="859005" y="859005"/>
                  </a:lnTo>
                  <a:lnTo>
                    <a:pt x="0" y="859005"/>
                  </a:lnTo>
                  <a:close/>
                </a:path>
              </a:pathLst>
            </a:custGeom>
            <a:solidFill>
              <a:srgbClr val="00CE7D"/>
            </a:solidFill>
            <a:ln w="8572" cap="flat">
              <a:noFill/>
              <a:prstDash val="solid"/>
              <a:miter/>
            </a:ln>
          </p:spPr>
          <p:txBody>
            <a:bodyPr rtlCol="0" anchor="ctr"/>
            <a:lstStyle/>
            <a:p>
              <a:pPr rtl="0"/>
              <a:endParaRPr lang="en-US" dirty="0">
                <a:solidFill>
                  <a:schemeClr val="tx1"/>
                </a:solidFill>
              </a:endParaRPr>
            </a:p>
          </p:txBody>
        </p:sp>
        <p:sp>
          <p:nvSpPr>
            <p:cNvPr id="25" name="Freihandform: Form 24">
              <a:extLst>
                <a:ext uri="{FF2B5EF4-FFF2-40B4-BE49-F238E27FC236}">
                  <a16:creationId xmlns:a16="http://schemas.microsoft.com/office/drawing/2014/main" id="{ACA577BB-972D-4F24-9540-3277C01DF70D}"/>
                </a:ext>
              </a:extLst>
            </p:cNvPr>
            <p:cNvSpPr/>
            <p:nvPr/>
          </p:nvSpPr>
          <p:spPr bwMode="gray">
            <a:xfrm>
              <a:off x="11332994" y="2384884"/>
              <a:ext cx="859004" cy="859004"/>
            </a:xfrm>
            <a:custGeom>
              <a:avLst/>
              <a:gdLst>
                <a:gd name="connsiteX0" fmla="*/ 859005 w 859004"/>
                <a:gd name="connsiteY0" fmla="*/ 859005 h 859004"/>
                <a:gd name="connsiteX1" fmla="*/ 0 w 859004"/>
                <a:gd name="connsiteY1" fmla="*/ 0 h 859004"/>
                <a:gd name="connsiteX2" fmla="*/ 859005 w 859004"/>
                <a:gd name="connsiteY2" fmla="*/ 0 h 859004"/>
              </a:gdLst>
              <a:ahLst/>
              <a:cxnLst>
                <a:cxn ang="0">
                  <a:pos x="connsiteX0" y="connsiteY0"/>
                </a:cxn>
                <a:cxn ang="0">
                  <a:pos x="connsiteX1" y="connsiteY1"/>
                </a:cxn>
                <a:cxn ang="0">
                  <a:pos x="connsiteX2" y="connsiteY2"/>
                </a:cxn>
              </a:cxnLst>
              <a:rect l="l" t="t" r="r" b="b"/>
              <a:pathLst>
                <a:path w="859004" h="859004">
                  <a:moveTo>
                    <a:pt x="859005" y="859005"/>
                  </a:moveTo>
                  <a:lnTo>
                    <a:pt x="0" y="0"/>
                  </a:lnTo>
                  <a:lnTo>
                    <a:pt x="859005" y="0"/>
                  </a:lnTo>
                  <a:close/>
                </a:path>
              </a:pathLst>
            </a:custGeom>
            <a:solidFill>
              <a:srgbClr val="00CE7D"/>
            </a:solidFill>
            <a:ln w="8572" cap="flat">
              <a:noFill/>
              <a:prstDash val="solid"/>
              <a:miter/>
            </a:ln>
          </p:spPr>
          <p:txBody>
            <a:bodyPr rtlCol="0" anchor="ctr"/>
            <a:lstStyle/>
            <a:p>
              <a:pPr rtl="0"/>
              <a:endParaRPr lang="en-US" dirty="0">
                <a:solidFill>
                  <a:schemeClr val="tx1"/>
                </a:solidFill>
              </a:endParaRPr>
            </a:p>
          </p:txBody>
        </p:sp>
        <p:sp>
          <p:nvSpPr>
            <p:cNvPr id="26" name="Freihandform: Form 25">
              <a:extLst>
                <a:ext uri="{FF2B5EF4-FFF2-40B4-BE49-F238E27FC236}">
                  <a16:creationId xmlns:a16="http://schemas.microsoft.com/office/drawing/2014/main" id="{9ED901D5-BFA6-429C-BBEF-FF46FC43B6B5}"/>
                </a:ext>
              </a:extLst>
            </p:cNvPr>
            <p:cNvSpPr/>
            <p:nvPr/>
          </p:nvSpPr>
          <p:spPr bwMode="gray">
            <a:xfrm>
              <a:off x="10473990" y="2384884"/>
              <a:ext cx="1718009" cy="1718009"/>
            </a:xfrm>
            <a:custGeom>
              <a:avLst/>
              <a:gdLst>
                <a:gd name="connsiteX0" fmla="*/ 859005 w 1718009"/>
                <a:gd name="connsiteY0" fmla="*/ 859005 h 1718009"/>
                <a:gd name="connsiteX1" fmla="*/ 1718009 w 1718009"/>
                <a:gd name="connsiteY1" fmla="*/ 1718009 h 1718009"/>
                <a:gd name="connsiteX2" fmla="*/ 859005 w 1718009"/>
                <a:gd name="connsiteY2" fmla="*/ 1718009 h 1718009"/>
                <a:gd name="connsiteX3" fmla="*/ 0 w 1718009"/>
                <a:gd name="connsiteY3" fmla="*/ 859005 h 1718009"/>
                <a:gd name="connsiteX4" fmla="*/ 0 w 1718009"/>
                <a:gd name="connsiteY4" fmla="*/ 0 h 17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009" h="1718009">
                  <a:moveTo>
                    <a:pt x="859005" y="859005"/>
                  </a:moveTo>
                  <a:lnTo>
                    <a:pt x="1718009" y="1718009"/>
                  </a:lnTo>
                  <a:lnTo>
                    <a:pt x="859005" y="1718009"/>
                  </a:lnTo>
                  <a:lnTo>
                    <a:pt x="0" y="859005"/>
                  </a:lnTo>
                  <a:lnTo>
                    <a:pt x="0" y="0"/>
                  </a:lnTo>
                  <a:close/>
                </a:path>
              </a:pathLst>
            </a:custGeom>
            <a:solidFill>
              <a:srgbClr val="FFFFFF"/>
            </a:solidFill>
            <a:ln w="8572" cap="flat">
              <a:noFill/>
              <a:prstDash val="solid"/>
              <a:miter/>
            </a:ln>
          </p:spPr>
          <p:txBody>
            <a:bodyPr rtlCol="0" anchor="ctr"/>
            <a:lstStyle/>
            <a:p>
              <a:pPr rtl="0"/>
              <a:endParaRPr lang="en-US" dirty="0">
                <a:solidFill>
                  <a:schemeClr val="tx1"/>
                </a:solidFill>
              </a:endParaRPr>
            </a:p>
          </p:txBody>
        </p:sp>
      </p:grpSp>
      <p:sp>
        <p:nvSpPr>
          <p:cNvPr id="3" name="Date Placeholder 2">
            <a:extLst>
              <a:ext uri="{FF2B5EF4-FFF2-40B4-BE49-F238E27FC236}">
                <a16:creationId xmlns:a16="http://schemas.microsoft.com/office/drawing/2014/main" id="{CC7E09BA-4FEF-48FD-B8AD-8B50BF94E738}"/>
              </a:ext>
            </a:extLst>
          </p:cNvPr>
          <p:cNvSpPr>
            <a:spLocks noGrp="1"/>
          </p:cNvSpPr>
          <p:nvPr>
            <p:ph type="dt" sz="half" idx="11"/>
          </p:nvPr>
        </p:nvSpPr>
        <p:spPr bwMode="gray"/>
        <p:txBody>
          <a:bodyPr/>
          <a:lstStyle>
            <a:lvl1pPr rtl="0">
              <a:defRPr>
                <a:solidFill>
                  <a:schemeClr val="tx1"/>
                </a:solidFill>
              </a:defRPr>
            </a:lvl1pPr>
          </a:lstStyle>
          <a:p>
            <a:fld id="{EF853E5D-858B-4FE7-B192-D1EFD3740DB4}" type="datetime1">
              <a:rPr lang="en-US"/>
              <a:t>1/16/2022</a:t>
            </a:fld>
            <a:endParaRPr lang="en-US" dirty="0"/>
          </a:p>
        </p:txBody>
      </p:sp>
      <p:sp>
        <p:nvSpPr>
          <p:cNvPr id="6" name="Slide Number Placeholder 5">
            <a:extLst>
              <a:ext uri="{FF2B5EF4-FFF2-40B4-BE49-F238E27FC236}">
                <a16:creationId xmlns:a16="http://schemas.microsoft.com/office/drawing/2014/main" id="{9B47D739-476D-4DE4-8BF7-5CCF6A910F43}"/>
              </a:ext>
            </a:extLst>
          </p:cNvPr>
          <p:cNvSpPr>
            <a:spLocks noGrp="1"/>
          </p:cNvSpPr>
          <p:nvPr>
            <p:ph type="sldNum" sz="quarter" idx="12"/>
          </p:nvPr>
        </p:nvSpPr>
        <p:spPr bwMode="gray"/>
        <p:txBody>
          <a:bodyPr/>
          <a:lstStyle>
            <a:lvl1pPr rtl="0">
              <a:defRPr>
                <a:solidFill>
                  <a:schemeClr val="tx1"/>
                </a:solidFill>
              </a:defRPr>
            </a:lvl1pPr>
          </a:lstStyle>
          <a:p>
            <a:fld id="{62CB3E74-FC4B-418A-B5F6-72ED80208EB2}" type="slidenum">
              <a:rPr lang="en-US"/>
              <a:pPr/>
              <a:t>‹#›</a:t>
            </a:fld>
            <a:endParaRPr lang="en-US" dirty="0"/>
          </a:p>
        </p:txBody>
      </p:sp>
      <p:grpSp>
        <p:nvGrpSpPr>
          <p:cNvPr id="12" name="Gruppieren 11">
            <a:extLst>
              <a:ext uri="{FF2B5EF4-FFF2-40B4-BE49-F238E27FC236}">
                <a16:creationId xmlns:a16="http://schemas.microsoft.com/office/drawing/2014/main" id="{7008FA13-4F46-43E8-8C4A-E6808D2ECEB1}"/>
              </a:ext>
            </a:extLst>
          </p:cNvPr>
          <p:cNvGrpSpPr/>
          <p:nvPr/>
        </p:nvGrpSpPr>
        <p:grpSpPr bwMode="gray">
          <a:xfrm>
            <a:off x="10804526" y="1"/>
            <a:ext cx="809625" cy="1135063"/>
            <a:chOff x="10804526" y="1"/>
            <a:chExt cx="809625" cy="1135063"/>
          </a:xfrm>
        </p:grpSpPr>
        <p:sp>
          <p:nvSpPr>
            <p:cNvPr id="13" name="Freihandform: Form 12">
              <a:extLst>
                <a:ext uri="{FF2B5EF4-FFF2-40B4-BE49-F238E27FC236}">
                  <a16:creationId xmlns:a16="http://schemas.microsoft.com/office/drawing/2014/main" id="{688490E6-CD8F-4578-905B-A0F1C6B302D1}"/>
                </a:ext>
              </a:extLst>
            </p:cNvPr>
            <p:cNvSpPr/>
            <p:nvPr userDrawn="1"/>
          </p:nvSpPr>
          <p:spPr bwMode="gray">
            <a:xfrm>
              <a:off x="10804526" y="1"/>
              <a:ext cx="809625" cy="1135063"/>
            </a:xfrm>
            <a:custGeom>
              <a:avLst/>
              <a:gdLst>
                <a:gd name="connsiteX0" fmla="*/ 0 w 809625"/>
                <a:gd name="connsiteY0" fmla="*/ 0 h 1135063"/>
                <a:gd name="connsiteX1" fmla="*/ 809625 w 809625"/>
                <a:gd name="connsiteY1" fmla="*/ 0 h 1135063"/>
                <a:gd name="connsiteX2" fmla="*/ 809625 w 809625"/>
                <a:gd name="connsiteY2" fmla="*/ 730422 h 1135063"/>
                <a:gd name="connsiteX3" fmla="*/ 404813 w 809625"/>
                <a:gd name="connsiteY3" fmla="*/ 1135063 h 1135063"/>
                <a:gd name="connsiteX4" fmla="*/ 0 w 809625"/>
                <a:gd name="connsiteY4" fmla="*/ 730422 h 1135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1135063">
                  <a:moveTo>
                    <a:pt x="0" y="0"/>
                  </a:moveTo>
                  <a:lnTo>
                    <a:pt x="809625" y="0"/>
                  </a:lnTo>
                  <a:lnTo>
                    <a:pt x="809625" y="730422"/>
                  </a:lnTo>
                  <a:cubicBezTo>
                    <a:pt x="809625" y="953908"/>
                    <a:pt x="628489" y="1135063"/>
                    <a:pt x="404813" y="1135063"/>
                  </a:cubicBezTo>
                  <a:cubicBezTo>
                    <a:pt x="181308" y="1135063"/>
                    <a:pt x="0" y="953908"/>
                    <a:pt x="0" y="730422"/>
                  </a:cubicBezTo>
                  <a:close/>
                </a:path>
              </a:pathLst>
            </a:custGeom>
            <a:solidFill>
              <a:srgbClr val="00CE7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bIns="79200" rtlCol="0" anchor="ctr">
              <a:noAutofit/>
            </a:bodyPr>
            <a:lstStyle/>
            <a:p>
              <a:pPr algn="ctr" rtl="0"/>
              <a:endParaRPr lang="en-US" sz="1400" dirty="0"/>
            </a:p>
          </p:txBody>
        </p:sp>
        <p:sp>
          <p:nvSpPr>
            <p:cNvPr id="14" name="Freeform 17">
              <a:extLst>
                <a:ext uri="{FF2B5EF4-FFF2-40B4-BE49-F238E27FC236}">
                  <a16:creationId xmlns:a16="http://schemas.microsoft.com/office/drawing/2014/main" id="{F65C1DB4-4C55-469E-906D-B37E7D9F7EB0}"/>
                </a:ext>
              </a:extLst>
            </p:cNvPr>
            <p:cNvSpPr>
              <a:spLocks noEditPoints="1"/>
            </p:cNvSpPr>
            <p:nvPr userDrawn="1"/>
          </p:nvSpPr>
          <p:spPr bwMode="gray">
            <a:xfrm>
              <a:off x="10929938" y="487363"/>
              <a:ext cx="595313" cy="320675"/>
            </a:xfrm>
            <a:custGeom>
              <a:avLst/>
              <a:gdLst>
                <a:gd name="T0" fmla="*/ 3270 w 3471"/>
                <a:gd name="T1" fmla="*/ 1872 h 1872"/>
                <a:gd name="T2" fmla="*/ 3137 w 3471"/>
                <a:gd name="T3" fmla="*/ 1817 h 1872"/>
                <a:gd name="T4" fmla="*/ 2679 w 3471"/>
                <a:gd name="T5" fmla="*/ 1358 h 1872"/>
                <a:gd name="T6" fmla="*/ 2677 w 3471"/>
                <a:gd name="T7" fmla="*/ 1096 h 1872"/>
                <a:gd name="T8" fmla="*/ 2806 w 3471"/>
                <a:gd name="T9" fmla="*/ 1042 h 1872"/>
                <a:gd name="T10" fmla="*/ 2939 w 3471"/>
                <a:gd name="T11" fmla="*/ 1098 h 1872"/>
                <a:gd name="T12" fmla="*/ 3397 w 3471"/>
                <a:gd name="T13" fmla="*/ 1557 h 1872"/>
                <a:gd name="T14" fmla="*/ 3452 w 3471"/>
                <a:gd name="T15" fmla="*/ 1688 h 1872"/>
                <a:gd name="T16" fmla="*/ 3399 w 3471"/>
                <a:gd name="T17" fmla="*/ 1819 h 1872"/>
                <a:gd name="T18" fmla="*/ 3270 w 3471"/>
                <a:gd name="T19" fmla="*/ 1872 h 1872"/>
                <a:gd name="T20" fmla="*/ 3270 w 3471"/>
                <a:gd name="T21" fmla="*/ 1872 h 1872"/>
                <a:gd name="T22" fmla="*/ 1787 w 3471"/>
                <a:gd name="T23" fmla="*/ 1872 h 1872"/>
                <a:gd name="T24" fmla="*/ 1658 w 3471"/>
                <a:gd name="T25" fmla="*/ 1819 h 1872"/>
                <a:gd name="T26" fmla="*/ 1605 w 3471"/>
                <a:gd name="T27" fmla="*/ 1688 h 1872"/>
                <a:gd name="T28" fmla="*/ 1660 w 3471"/>
                <a:gd name="T29" fmla="*/ 1557 h 1872"/>
                <a:gd name="T30" fmla="*/ 2119 w 3471"/>
                <a:gd name="T31" fmla="*/ 1098 h 1872"/>
                <a:gd name="T32" fmla="*/ 2252 w 3471"/>
                <a:gd name="T33" fmla="*/ 1042 h 1872"/>
                <a:gd name="T34" fmla="*/ 2381 w 3471"/>
                <a:gd name="T35" fmla="*/ 1096 h 1872"/>
                <a:gd name="T36" fmla="*/ 2379 w 3471"/>
                <a:gd name="T37" fmla="*/ 1358 h 1872"/>
                <a:gd name="T38" fmla="*/ 1920 w 3471"/>
                <a:gd name="T39" fmla="*/ 1817 h 1872"/>
                <a:gd name="T40" fmla="*/ 1787 w 3471"/>
                <a:gd name="T41" fmla="*/ 1872 h 1872"/>
                <a:gd name="T42" fmla="*/ 1787 w 3471"/>
                <a:gd name="T43" fmla="*/ 1872 h 1872"/>
                <a:gd name="T44" fmla="*/ 196 w 3471"/>
                <a:gd name="T45" fmla="*/ 1857 h 1872"/>
                <a:gd name="T46" fmla="*/ 0 w 3471"/>
                <a:gd name="T47" fmla="*/ 1662 h 1872"/>
                <a:gd name="T48" fmla="*/ 0 w 3471"/>
                <a:gd name="T49" fmla="*/ 211 h 1872"/>
                <a:gd name="T50" fmla="*/ 196 w 3471"/>
                <a:gd name="T51" fmla="*/ 16 h 1872"/>
                <a:gd name="T52" fmla="*/ 1219 w 3471"/>
                <a:gd name="T53" fmla="*/ 16 h 1872"/>
                <a:gd name="T54" fmla="*/ 1390 w 3471"/>
                <a:gd name="T55" fmla="*/ 185 h 1872"/>
                <a:gd name="T56" fmla="*/ 1219 w 3471"/>
                <a:gd name="T57" fmla="*/ 354 h 1872"/>
                <a:gd name="T58" fmla="*/ 372 w 3471"/>
                <a:gd name="T59" fmla="*/ 354 h 1872"/>
                <a:gd name="T60" fmla="*/ 372 w 3471"/>
                <a:gd name="T61" fmla="*/ 1518 h 1872"/>
                <a:gd name="T62" fmla="*/ 1232 w 3471"/>
                <a:gd name="T63" fmla="*/ 1518 h 1872"/>
                <a:gd name="T64" fmla="*/ 1404 w 3471"/>
                <a:gd name="T65" fmla="*/ 1688 h 1872"/>
                <a:gd name="T66" fmla="*/ 1232 w 3471"/>
                <a:gd name="T67" fmla="*/ 1857 h 1872"/>
                <a:gd name="T68" fmla="*/ 196 w 3471"/>
                <a:gd name="T69" fmla="*/ 1857 h 1872"/>
                <a:gd name="T70" fmla="*/ 590 w 3471"/>
                <a:gd name="T71" fmla="*/ 1099 h 1872"/>
                <a:gd name="T72" fmla="*/ 590 w 3471"/>
                <a:gd name="T73" fmla="*/ 761 h 1872"/>
                <a:gd name="T74" fmla="*/ 1628 w 3471"/>
                <a:gd name="T75" fmla="*/ 761 h 1872"/>
                <a:gd name="T76" fmla="*/ 1800 w 3471"/>
                <a:gd name="T77" fmla="*/ 930 h 1872"/>
                <a:gd name="T78" fmla="*/ 1628 w 3471"/>
                <a:gd name="T79" fmla="*/ 1099 h 1872"/>
                <a:gd name="T80" fmla="*/ 590 w 3471"/>
                <a:gd name="T81" fmla="*/ 1099 h 1872"/>
                <a:gd name="T82" fmla="*/ 2806 w 3471"/>
                <a:gd name="T83" fmla="*/ 831 h 1872"/>
                <a:gd name="T84" fmla="*/ 2677 w 3471"/>
                <a:gd name="T85" fmla="*/ 777 h 1872"/>
                <a:gd name="T86" fmla="*/ 2679 w 3471"/>
                <a:gd name="T87" fmla="*/ 515 h 1872"/>
                <a:gd name="T88" fmla="*/ 3137 w 3471"/>
                <a:gd name="T89" fmla="*/ 56 h 1872"/>
                <a:gd name="T90" fmla="*/ 3270 w 3471"/>
                <a:gd name="T91" fmla="*/ 0 h 1872"/>
                <a:gd name="T92" fmla="*/ 3399 w 3471"/>
                <a:gd name="T93" fmla="*/ 54 h 1872"/>
                <a:gd name="T94" fmla="*/ 3397 w 3471"/>
                <a:gd name="T95" fmla="*/ 316 h 1872"/>
                <a:gd name="T96" fmla="*/ 2939 w 3471"/>
                <a:gd name="T97" fmla="*/ 775 h 1872"/>
                <a:gd name="T98" fmla="*/ 2806 w 3471"/>
                <a:gd name="T99" fmla="*/ 831 h 1872"/>
                <a:gd name="T100" fmla="*/ 2252 w 3471"/>
                <a:gd name="T101" fmla="*/ 831 h 1872"/>
                <a:gd name="T102" fmla="*/ 2119 w 3471"/>
                <a:gd name="T103" fmla="*/ 775 h 1872"/>
                <a:gd name="T104" fmla="*/ 1660 w 3471"/>
                <a:gd name="T105" fmla="*/ 316 h 1872"/>
                <a:gd name="T106" fmla="*/ 1658 w 3471"/>
                <a:gd name="T107" fmla="*/ 54 h 1872"/>
                <a:gd name="T108" fmla="*/ 1787 w 3471"/>
                <a:gd name="T109" fmla="*/ 0 h 1872"/>
                <a:gd name="T110" fmla="*/ 1920 w 3471"/>
                <a:gd name="T111" fmla="*/ 56 h 1872"/>
                <a:gd name="T112" fmla="*/ 2379 w 3471"/>
                <a:gd name="T113" fmla="*/ 515 h 1872"/>
                <a:gd name="T114" fmla="*/ 2381 w 3471"/>
                <a:gd name="T115" fmla="*/ 777 h 1872"/>
                <a:gd name="T116" fmla="*/ 2252 w 3471"/>
                <a:gd name="T117" fmla="*/ 831 h 1872"/>
                <a:gd name="T118" fmla="*/ 2252 w 3471"/>
                <a:gd name="T119" fmla="*/ 831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71" h="1872">
                  <a:moveTo>
                    <a:pt x="3270" y="1872"/>
                  </a:moveTo>
                  <a:cubicBezTo>
                    <a:pt x="3220" y="1872"/>
                    <a:pt x="3173" y="1853"/>
                    <a:pt x="3137" y="1817"/>
                  </a:cubicBezTo>
                  <a:lnTo>
                    <a:pt x="2679" y="1358"/>
                  </a:lnTo>
                  <a:cubicBezTo>
                    <a:pt x="2606" y="1285"/>
                    <a:pt x="2605" y="1167"/>
                    <a:pt x="2677" y="1096"/>
                  </a:cubicBezTo>
                  <a:cubicBezTo>
                    <a:pt x="2711" y="1061"/>
                    <a:pt x="2757" y="1042"/>
                    <a:pt x="2806" y="1042"/>
                  </a:cubicBezTo>
                  <a:cubicBezTo>
                    <a:pt x="2856" y="1042"/>
                    <a:pt x="2903" y="1062"/>
                    <a:pt x="2939" y="1098"/>
                  </a:cubicBezTo>
                  <a:lnTo>
                    <a:pt x="3397" y="1557"/>
                  </a:lnTo>
                  <a:cubicBezTo>
                    <a:pt x="3432" y="1592"/>
                    <a:pt x="3452" y="1639"/>
                    <a:pt x="3452" y="1688"/>
                  </a:cubicBezTo>
                  <a:cubicBezTo>
                    <a:pt x="3453" y="1738"/>
                    <a:pt x="3434" y="1784"/>
                    <a:pt x="3399" y="1819"/>
                  </a:cubicBezTo>
                  <a:cubicBezTo>
                    <a:pt x="3365" y="1854"/>
                    <a:pt x="3319" y="1872"/>
                    <a:pt x="3270" y="1872"/>
                  </a:cubicBezTo>
                  <a:lnTo>
                    <a:pt x="3270" y="1872"/>
                  </a:lnTo>
                  <a:close/>
                  <a:moveTo>
                    <a:pt x="1787" y="1872"/>
                  </a:moveTo>
                  <a:cubicBezTo>
                    <a:pt x="1739" y="1872"/>
                    <a:pt x="1693" y="1854"/>
                    <a:pt x="1658" y="1819"/>
                  </a:cubicBezTo>
                  <a:cubicBezTo>
                    <a:pt x="1624" y="1784"/>
                    <a:pt x="1605" y="1738"/>
                    <a:pt x="1605" y="1688"/>
                  </a:cubicBezTo>
                  <a:cubicBezTo>
                    <a:pt x="1605" y="1639"/>
                    <a:pt x="1625" y="1592"/>
                    <a:pt x="1660" y="1557"/>
                  </a:cubicBezTo>
                  <a:lnTo>
                    <a:pt x="2119" y="1098"/>
                  </a:lnTo>
                  <a:cubicBezTo>
                    <a:pt x="2154" y="1062"/>
                    <a:pt x="2202" y="1042"/>
                    <a:pt x="2252" y="1042"/>
                  </a:cubicBezTo>
                  <a:cubicBezTo>
                    <a:pt x="2300" y="1042"/>
                    <a:pt x="2346" y="1061"/>
                    <a:pt x="2381" y="1096"/>
                  </a:cubicBezTo>
                  <a:cubicBezTo>
                    <a:pt x="2452" y="1167"/>
                    <a:pt x="2451" y="1285"/>
                    <a:pt x="2379" y="1358"/>
                  </a:cubicBezTo>
                  <a:lnTo>
                    <a:pt x="1920" y="1817"/>
                  </a:lnTo>
                  <a:cubicBezTo>
                    <a:pt x="1885" y="1853"/>
                    <a:pt x="1837" y="1872"/>
                    <a:pt x="1787" y="1872"/>
                  </a:cubicBezTo>
                  <a:cubicBezTo>
                    <a:pt x="1787" y="1872"/>
                    <a:pt x="1787" y="1872"/>
                    <a:pt x="1787" y="1872"/>
                  </a:cubicBezTo>
                  <a:close/>
                  <a:moveTo>
                    <a:pt x="196" y="1857"/>
                  </a:moveTo>
                  <a:cubicBezTo>
                    <a:pt x="87" y="1857"/>
                    <a:pt x="0" y="1771"/>
                    <a:pt x="0" y="1662"/>
                  </a:cubicBezTo>
                  <a:lnTo>
                    <a:pt x="0" y="211"/>
                  </a:lnTo>
                  <a:cubicBezTo>
                    <a:pt x="0" y="102"/>
                    <a:pt x="87" y="16"/>
                    <a:pt x="196" y="16"/>
                  </a:cubicBezTo>
                  <a:lnTo>
                    <a:pt x="1219" y="16"/>
                  </a:lnTo>
                  <a:cubicBezTo>
                    <a:pt x="1313" y="16"/>
                    <a:pt x="1390" y="92"/>
                    <a:pt x="1390" y="185"/>
                  </a:cubicBezTo>
                  <a:cubicBezTo>
                    <a:pt x="1390" y="278"/>
                    <a:pt x="1313" y="354"/>
                    <a:pt x="1219" y="354"/>
                  </a:cubicBezTo>
                  <a:lnTo>
                    <a:pt x="372" y="354"/>
                  </a:lnTo>
                  <a:lnTo>
                    <a:pt x="372" y="1518"/>
                  </a:lnTo>
                  <a:lnTo>
                    <a:pt x="1232" y="1518"/>
                  </a:lnTo>
                  <a:cubicBezTo>
                    <a:pt x="1327" y="1518"/>
                    <a:pt x="1404" y="1594"/>
                    <a:pt x="1404" y="1688"/>
                  </a:cubicBezTo>
                  <a:cubicBezTo>
                    <a:pt x="1404" y="1781"/>
                    <a:pt x="1327" y="1857"/>
                    <a:pt x="1232" y="1857"/>
                  </a:cubicBezTo>
                  <a:lnTo>
                    <a:pt x="196" y="1857"/>
                  </a:lnTo>
                  <a:close/>
                  <a:moveTo>
                    <a:pt x="590" y="1099"/>
                  </a:moveTo>
                  <a:lnTo>
                    <a:pt x="590" y="761"/>
                  </a:lnTo>
                  <a:lnTo>
                    <a:pt x="1628" y="761"/>
                  </a:lnTo>
                  <a:cubicBezTo>
                    <a:pt x="1723" y="761"/>
                    <a:pt x="1800" y="837"/>
                    <a:pt x="1800" y="930"/>
                  </a:cubicBezTo>
                  <a:cubicBezTo>
                    <a:pt x="1800" y="1023"/>
                    <a:pt x="1723" y="1099"/>
                    <a:pt x="1628" y="1099"/>
                  </a:cubicBezTo>
                  <a:lnTo>
                    <a:pt x="590" y="1099"/>
                  </a:lnTo>
                  <a:close/>
                  <a:moveTo>
                    <a:pt x="2806" y="831"/>
                  </a:moveTo>
                  <a:cubicBezTo>
                    <a:pt x="2757" y="831"/>
                    <a:pt x="2711" y="812"/>
                    <a:pt x="2677" y="777"/>
                  </a:cubicBezTo>
                  <a:cubicBezTo>
                    <a:pt x="2605" y="706"/>
                    <a:pt x="2606" y="588"/>
                    <a:pt x="2679" y="515"/>
                  </a:cubicBezTo>
                  <a:lnTo>
                    <a:pt x="3137" y="56"/>
                  </a:lnTo>
                  <a:cubicBezTo>
                    <a:pt x="3173" y="20"/>
                    <a:pt x="3220" y="0"/>
                    <a:pt x="3270" y="0"/>
                  </a:cubicBezTo>
                  <a:cubicBezTo>
                    <a:pt x="3319" y="0"/>
                    <a:pt x="3365" y="19"/>
                    <a:pt x="3399" y="54"/>
                  </a:cubicBezTo>
                  <a:cubicBezTo>
                    <a:pt x="3471" y="126"/>
                    <a:pt x="3470" y="243"/>
                    <a:pt x="3397" y="316"/>
                  </a:cubicBezTo>
                  <a:lnTo>
                    <a:pt x="2939" y="775"/>
                  </a:lnTo>
                  <a:cubicBezTo>
                    <a:pt x="2903" y="811"/>
                    <a:pt x="2856" y="831"/>
                    <a:pt x="2806" y="831"/>
                  </a:cubicBezTo>
                  <a:close/>
                  <a:moveTo>
                    <a:pt x="2252" y="831"/>
                  </a:moveTo>
                  <a:cubicBezTo>
                    <a:pt x="2202" y="831"/>
                    <a:pt x="2154" y="811"/>
                    <a:pt x="2119" y="775"/>
                  </a:cubicBezTo>
                  <a:lnTo>
                    <a:pt x="1660" y="316"/>
                  </a:lnTo>
                  <a:cubicBezTo>
                    <a:pt x="1588" y="243"/>
                    <a:pt x="1587" y="126"/>
                    <a:pt x="1658" y="54"/>
                  </a:cubicBezTo>
                  <a:cubicBezTo>
                    <a:pt x="1693" y="19"/>
                    <a:pt x="1739" y="0"/>
                    <a:pt x="1787" y="0"/>
                  </a:cubicBezTo>
                  <a:cubicBezTo>
                    <a:pt x="1837" y="0"/>
                    <a:pt x="1885" y="20"/>
                    <a:pt x="1920" y="56"/>
                  </a:cubicBezTo>
                  <a:lnTo>
                    <a:pt x="2379" y="515"/>
                  </a:lnTo>
                  <a:cubicBezTo>
                    <a:pt x="2451" y="588"/>
                    <a:pt x="2452" y="706"/>
                    <a:pt x="2381" y="777"/>
                  </a:cubicBezTo>
                  <a:cubicBezTo>
                    <a:pt x="2346" y="812"/>
                    <a:pt x="2300" y="831"/>
                    <a:pt x="2252" y="831"/>
                  </a:cubicBezTo>
                  <a:lnTo>
                    <a:pt x="2252" y="831"/>
                  </a:lnTo>
                  <a:close/>
                </a:path>
              </a:pathLst>
            </a:custGeom>
            <a:solidFill>
              <a:srgbClr val="20175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US" dirty="0"/>
            </a:p>
          </p:txBody>
        </p:sp>
      </p:grpSp>
      <p:pic>
        <p:nvPicPr>
          <p:cNvPr id="17" name="Grafik 16">
            <a:extLst>
              <a:ext uri="{FF2B5EF4-FFF2-40B4-BE49-F238E27FC236}">
                <a16:creationId xmlns:a16="http://schemas.microsoft.com/office/drawing/2014/main" id="{4FEAB16E-7C7E-49B9-A429-8267A3BB3F6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bwMode="gray">
          <a:xfrm>
            <a:off x="601200" y="6376596"/>
            <a:ext cx="576000" cy="124679"/>
          </a:xfrm>
          <a:prstGeom prst="rect">
            <a:avLst/>
          </a:prstGeom>
        </p:spPr>
      </p:pic>
    </p:spTree>
    <p:extLst>
      <p:ext uri="{BB962C8B-B14F-4D97-AF65-F5344CB8AC3E}">
        <p14:creationId xmlns:p14="http://schemas.microsoft.com/office/powerpoint/2010/main" val="188049138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 Green">
    <p:bg bwMode="gray">
      <p:bgPr>
        <a:solidFill>
          <a:srgbClr val="00CE7D"/>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C0DC1B9-CE44-43BF-AF22-E6DDB6B778AD}"/>
              </a:ext>
            </a:extLst>
          </p:cNvPr>
          <p:cNvGraphicFramePr>
            <a:graphicFrameLocks noChangeAspect="1"/>
          </p:cNvGraphicFramePr>
          <p:nvPr userDrawn="1">
            <p:custDataLst>
              <p:tags r:id="rId2"/>
            </p:custDataLst>
            <p:extLst>
              <p:ext uri="{D42A27DB-BD31-4B8C-83A1-F6EECF244321}">
                <p14:modId xmlns:p14="http://schemas.microsoft.com/office/powerpoint/2010/main" val="3613328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73" name="think-cell Folie" r:id="rId4" imgW="359" imgH="358" progId="TCLayout.ActiveDocument.1">
                  <p:embed/>
                </p:oleObj>
              </mc:Choice>
              <mc:Fallback>
                <p:oleObj name="think-cell Folie" r:id="rId4" imgW="359" imgH="358" progId="TCLayout.ActiveDocument.1">
                  <p:embed/>
                  <p:pic>
                    <p:nvPicPr>
                      <p:cNvPr id="5" name="Objekt 4" hidden="1">
                        <a:extLst>
                          <a:ext uri="{FF2B5EF4-FFF2-40B4-BE49-F238E27FC236}">
                            <a16:creationId xmlns:a16="http://schemas.microsoft.com/office/drawing/2014/main" id="{5C0DC1B9-CE44-43BF-AF22-E6DDB6B778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DFFA6D0-AB8A-4F44-9727-A1CE86F10CC6}"/>
              </a:ext>
            </a:extLst>
          </p:cNvPr>
          <p:cNvSpPr>
            <a:spLocks noGrp="1"/>
          </p:cNvSpPr>
          <p:nvPr>
            <p:ph type="title" hasCustomPrompt="1"/>
          </p:nvPr>
        </p:nvSpPr>
        <p:spPr bwMode="gray">
          <a:xfrm>
            <a:off x="1566774" y="1923421"/>
            <a:ext cx="5256213" cy="1569887"/>
          </a:xfrm>
        </p:spPr>
        <p:txBody>
          <a:bodyPr vert="horz"/>
          <a:lstStyle>
            <a:lvl1pPr rtl="0">
              <a:lnSpc>
                <a:spcPct val="100000"/>
              </a:lnSpc>
              <a:defRPr sz="3800" b="1">
                <a:solidFill>
                  <a:schemeClr val="tx1"/>
                </a:solidFill>
              </a:defRPr>
            </a:lvl1pPr>
          </a:lstStyle>
          <a:p>
            <a:r>
              <a:rPr lang="en-US" noProof="0" dirty="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rtl="0">
              <a:lnSpc>
                <a:spcPct val="100000"/>
              </a:lnSpc>
              <a:buNone/>
              <a:defRPr sz="10400" b="1">
                <a:solidFill>
                  <a:schemeClr val="bg1"/>
                </a:solidFill>
              </a:defRPr>
            </a:lvl1pPr>
          </a:lstStyle>
          <a:p>
            <a:pPr lvl="0"/>
            <a:r>
              <a:rPr lang="en-US" noProof="0" dirty="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601200" y="6376596"/>
            <a:ext cx="576063" cy="126555"/>
          </a:xfrm>
          <a:prstGeom prst="rect">
            <a:avLst/>
          </a:prstGeom>
        </p:spPr>
      </p:pic>
      <p:grpSp>
        <p:nvGrpSpPr>
          <p:cNvPr id="13" name="Gruppieren 12">
            <a:extLst>
              <a:ext uri="{FF2B5EF4-FFF2-40B4-BE49-F238E27FC236}">
                <a16:creationId xmlns:a16="http://schemas.microsoft.com/office/drawing/2014/main" id="{2C2E47A4-CAB6-46B8-BE0C-44B1499FF68C}"/>
              </a:ext>
            </a:extLst>
          </p:cNvPr>
          <p:cNvGrpSpPr/>
          <p:nvPr/>
        </p:nvGrpSpPr>
        <p:grpSpPr bwMode="gray">
          <a:xfrm>
            <a:off x="9167664" y="2060848"/>
            <a:ext cx="3024336" cy="1512168"/>
            <a:chOff x="9167664" y="2060848"/>
            <a:chExt cx="3024336" cy="1512168"/>
          </a:xfrm>
        </p:grpSpPr>
        <p:sp>
          <p:nvSpPr>
            <p:cNvPr id="6" name="Freihandform: Form 5">
              <a:extLst>
                <a:ext uri="{FF2B5EF4-FFF2-40B4-BE49-F238E27FC236}">
                  <a16:creationId xmlns:a16="http://schemas.microsoft.com/office/drawing/2014/main" id="{16D54DAA-8AB7-4859-BE73-CA410CA89430}"/>
                </a:ext>
              </a:extLst>
            </p:cNvPr>
            <p:cNvSpPr/>
            <p:nvPr/>
          </p:nvSpPr>
          <p:spPr bwMode="gray">
            <a:xfrm>
              <a:off x="11435916" y="2060848"/>
              <a:ext cx="756084" cy="756084"/>
            </a:xfrm>
            <a:custGeom>
              <a:avLst/>
              <a:gdLst>
                <a:gd name="connsiteX0" fmla="*/ 756084 w 756084"/>
                <a:gd name="connsiteY0" fmla="*/ 0 h 756084"/>
                <a:gd name="connsiteX1" fmla="*/ 756084 w 756084"/>
                <a:gd name="connsiteY1" fmla="*/ 756084 h 756084"/>
                <a:gd name="connsiteX2" fmla="*/ 0 w 756084"/>
                <a:gd name="connsiteY2" fmla="*/ 0 h 756084"/>
              </a:gdLst>
              <a:ahLst/>
              <a:cxnLst>
                <a:cxn ang="0">
                  <a:pos x="connsiteX0" y="connsiteY0"/>
                </a:cxn>
                <a:cxn ang="0">
                  <a:pos x="connsiteX1" y="connsiteY1"/>
                </a:cxn>
                <a:cxn ang="0">
                  <a:pos x="connsiteX2" y="connsiteY2"/>
                </a:cxn>
              </a:cxnLst>
              <a:rect l="l" t="t" r="r" b="b"/>
              <a:pathLst>
                <a:path w="756084" h="756084">
                  <a:moveTo>
                    <a:pt x="756084" y="0"/>
                  </a:moveTo>
                  <a:lnTo>
                    <a:pt x="756084" y="756084"/>
                  </a:lnTo>
                  <a:lnTo>
                    <a:pt x="0" y="0"/>
                  </a:lnTo>
                  <a:close/>
                </a:path>
              </a:pathLst>
            </a:custGeom>
            <a:solidFill>
              <a:srgbClr val="201751"/>
            </a:solidFill>
            <a:ln w="7549" cap="flat">
              <a:noFill/>
              <a:prstDash val="solid"/>
              <a:miter/>
            </a:ln>
          </p:spPr>
          <p:txBody>
            <a:bodyPr rtlCol="0" anchor="ctr"/>
            <a:lstStyle/>
            <a:p>
              <a:pPr rtl="0"/>
              <a:endParaRPr lang="en-US" dirty="0"/>
            </a:p>
          </p:txBody>
        </p:sp>
        <p:sp>
          <p:nvSpPr>
            <p:cNvPr id="7" name="Freihandform: Form 6">
              <a:extLst>
                <a:ext uri="{FF2B5EF4-FFF2-40B4-BE49-F238E27FC236}">
                  <a16:creationId xmlns:a16="http://schemas.microsoft.com/office/drawing/2014/main" id="{BF8DF8B8-D3D5-4E11-A199-7C77DE2D3D27}"/>
                </a:ext>
              </a:extLst>
            </p:cNvPr>
            <p:cNvSpPr/>
            <p:nvPr/>
          </p:nvSpPr>
          <p:spPr bwMode="gray">
            <a:xfrm>
              <a:off x="10679832" y="2060848"/>
              <a:ext cx="1512168" cy="1512168"/>
            </a:xfrm>
            <a:custGeom>
              <a:avLst/>
              <a:gdLst>
                <a:gd name="connsiteX0" fmla="*/ 0 w 1512168"/>
                <a:gd name="connsiteY0" fmla="*/ 0 h 1512168"/>
                <a:gd name="connsiteX1" fmla="*/ 0 w 1512168"/>
                <a:gd name="connsiteY1" fmla="*/ 756084 h 1512168"/>
                <a:gd name="connsiteX2" fmla="*/ 756084 w 1512168"/>
                <a:gd name="connsiteY2" fmla="*/ 1512168 h 1512168"/>
                <a:gd name="connsiteX3" fmla="*/ 1512168 w 1512168"/>
                <a:gd name="connsiteY3" fmla="*/ 1512168 h 1512168"/>
              </a:gdLst>
              <a:ahLst/>
              <a:cxnLst>
                <a:cxn ang="0">
                  <a:pos x="connsiteX0" y="connsiteY0"/>
                </a:cxn>
                <a:cxn ang="0">
                  <a:pos x="connsiteX1" y="connsiteY1"/>
                </a:cxn>
                <a:cxn ang="0">
                  <a:pos x="connsiteX2" y="connsiteY2"/>
                </a:cxn>
                <a:cxn ang="0">
                  <a:pos x="connsiteX3" y="connsiteY3"/>
                </a:cxn>
              </a:cxnLst>
              <a:rect l="l" t="t" r="r" b="b"/>
              <a:pathLst>
                <a:path w="1512168" h="1512168">
                  <a:moveTo>
                    <a:pt x="0" y="0"/>
                  </a:moveTo>
                  <a:lnTo>
                    <a:pt x="0" y="756084"/>
                  </a:lnTo>
                  <a:lnTo>
                    <a:pt x="756084" y="1512168"/>
                  </a:lnTo>
                  <a:lnTo>
                    <a:pt x="1512168" y="1512168"/>
                  </a:lnTo>
                  <a:close/>
                </a:path>
              </a:pathLst>
            </a:custGeom>
            <a:solidFill>
              <a:srgbClr val="FFFFFF"/>
            </a:solidFill>
            <a:ln w="7549" cap="flat">
              <a:noFill/>
              <a:prstDash val="solid"/>
              <a:miter/>
            </a:ln>
          </p:spPr>
          <p:txBody>
            <a:bodyPr rtlCol="0" anchor="ctr"/>
            <a:lstStyle/>
            <a:p>
              <a:pPr rtl="0"/>
              <a:endParaRPr lang="en-US" dirty="0"/>
            </a:p>
          </p:txBody>
        </p:sp>
        <p:sp>
          <p:nvSpPr>
            <p:cNvPr id="12" name="Freihandform: Form 11">
              <a:extLst>
                <a:ext uri="{FF2B5EF4-FFF2-40B4-BE49-F238E27FC236}">
                  <a16:creationId xmlns:a16="http://schemas.microsoft.com/office/drawing/2014/main" id="{56CB23BD-376E-494C-B9BD-49C693E7B475}"/>
                </a:ext>
              </a:extLst>
            </p:cNvPr>
            <p:cNvSpPr/>
            <p:nvPr/>
          </p:nvSpPr>
          <p:spPr bwMode="gray">
            <a:xfrm>
              <a:off x="9167664" y="2060848"/>
              <a:ext cx="1512168" cy="756084"/>
            </a:xfrm>
            <a:custGeom>
              <a:avLst/>
              <a:gdLst>
                <a:gd name="connsiteX0" fmla="*/ 1134126 w 1512168"/>
                <a:gd name="connsiteY0" fmla="*/ 0 h 756084"/>
                <a:gd name="connsiteX1" fmla="*/ 1134126 w 1512168"/>
                <a:gd name="connsiteY1" fmla="*/ 0 h 756084"/>
                <a:gd name="connsiteX2" fmla="*/ 378042 w 1512168"/>
                <a:gd name="connsiteY2" fmla="*/ 0 h 756084"/>
                <a:gd name="connsiteX3" fmla="*/ 0 w 1512168"/>
                <a:gd name="connsiteY3" fmla="*/ 378042 h 756084"/>
                <a:gd name="connsiteX4" fmla="*/ 378042 w 1512168"/>
                <a:gd name="connsiteY4" fmla="*/ 756084 h 756084"/>
                <a:gd name="connsiteX5" fmla="*/ 756084 w 1512168"/>
                <a:gd name="connsiteY5" fmla="*/ 756084 h 756084"/>
                <a:gd name="connsiteX6" fmla="*/ 756084 w 1512168"/>
                <a:gd name="connsiteY6" fmla="*/ 756084 h 756084"/>
                <a:gd name="connsiteX7" fmla="*/ 1512168 w 1512168"/>
                <a:gd name="connsiteY7" fmla="*/ 756084 h 756084"/>
                <a:gd name="connsiteX8" fmla="*/ 1512168 w 1512168"/>
                <a:gd name="connsiteY8" fmla="*/ 0 h 756084"/>
                <a:gd name="connsiteX9" fmla="*/ 1134126 w 1512168"/>
                <a:gd name="connsiteY9" fmla="*/ 0 h 75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2168" h="756084">
                  <a:moveTo>
                    <a:pt x="1134126" y="0"/>
                  </a:moveTo>
                  <a:lnTo>
                    <a:pt x="1134126" y="0"/>
                  </a:lnTo>
                  <a:lnTo>
                    <a:pt x="378042" y="0"/>
                  </a:lnTo>
                  <a:cubicBezTo>
                    <a:pt x="169287" y="0"/>
                    <a:pt x="0" y="169287"/>
                    <a:pt x="0" y="378042"/>
                  </a:cubicBezTo>
                  <a:cubicBezTo>
                    <a:pt x="0" y="586797"/>
                    <a:pt x="169287" y="756084"/>
                    <a:pt x="378042" y="756084"/>
                  </a:cubicBezTo>
                  <a:lnTo>
                    <a:pt x="756084" y="756084"/>
                  </a:lnTo>
                  <a:lnTo>
                    <a:pt x="756084" y="756084"/>
                  </a:lnTo>
                  <a:lnTo>
                    <a:pt x="1512168" y="756084"/>
                  </a:lnTo>
                  <a:lnTo>
                    <a:pt x="1512168" y="0"/>
                  </a:lnTo>
                  <a:lnTo>
                    <a:pt x="1134126" y="0"/>
                  </a:lnTo>
                  <a:close/>
                </a:path>
              </a:pathLst>
            </a:custGeom>
            <a:solidFill>
              <a:srgbClr val="201751"/>
            </a:solidFill>
            <a:ln w="7549" cap="flat">
              <a:noFill/>
              <a:prstDash val="solid"/>
              <a:miter/>
            </a:ln>
          </p:spPr>
          <p:txBody>
            <a:bodyPr rtlCol="0" anchor="ctr"/>
            <a:lstStyle/>
            <a:p>
              <a:pPr rtl="0"/>
              <a:endParaRPr lang="en-US" dirty="0"/>
            </a:p>
          </p:txBody>
        </p:sp>
      </p:grpSp>
      <p:sp>
        <p:nvSpPr>
          <p:cNvPr id="3" name="Date Placeholder 2">
            <a:extLst>
              <a:ext uri="{FF2B5EF4-FFF2-40B4-BE49-F238E27FC236}">
                <a16:creationId xmlns:a16="http://schemas.microsoft.com/office/drawing/2014/main" id="{243169E7-0F2E-4C33-A691-6D5C2B1A4DAE}"/>
              </a:ext>
            </a:extLst>
          </p:cNvPr>
          <p:cNvSpPr>
            <a:spLocks noGrp="1"/>
          </p:cNvSpPr>
          <p:nvPr>
            <p:ph type="dt" sz="half" idx="11"/>
          </p:nvPr>
        </p:nvSpPr>
        <p:spPr bwMode="gray"/>
        <p:txBody>
          <a:bodyPr/>
          <a:lstStyle>
            <a:lvl1pPr rtl="0">
              <a:defRPr/>
            </a:lvl1pPr>
          </a:lstStyle>
          <a:p>
            <a:fld id="{95320B9D-1E55-417F-BC4E-8B3EF6B241F7}" type="datetime1">
              <a:rPr lang="en-US"/>
              <a:t>1/16/2022</a:t>
            </a:fld>
            <a:endParaRPr lang="en-US" dirty="0"/>
          </a:p>
        </p:txBody>
      </p:sp>
      <p:sp>
        <p:nvSpPr>
          <p:cNvPr id="8" name="Slide Number Placeholder 7">
            <a:extLst>
              <a:ext uri="{FF2B5EF4-FFF2-40B4-BE49-F238E27FC236}">
                <a16:creationId xmlns:a16="http://schemas.microsoft.com/office/drawing/2014/main" id="{168C6C73-E854-4564-8150-B96B40A316D6}"/>
              </a:ext>
            </a:extLst>
          </p:cNvPr>
          <p:cNvSpPr>
            <a:spLocks noGrp="1"/>
          </p:cNvSpPr>
          <p:nvPr>
            <p:ph type="sldNum" sz="quarter" idx="12"/>
          </p:nvPr>
        </p:nvSpPr>
        <p:spPr bwMode="gray"/>
        <p:txBody>
          <a:bodyPr/>
          <a:lstStyle>
            <a:lvl1pPr rtl="0">
              <a:defRPr/>
            </a:lvl1pPr>
          </a:lstStyle>
          <a:p>
            <a:fld id="{62CB3E74-FC4B-418A-B5F6-72ED80208EB2}" type="slidenum">
              <a:rPr lang="en-US"/>
              <a:pPr/>
              <a:t>‹#›</a:t>
            </a:fld>
            <a:endParaRPr lang="en-US" dirty="0"/>
          </a:p>
        </p:txBody>
      </p:sp>
      <p:grpSp>
        <p:nvGrpSpPr>
          <p:cNvPr id="14" name="Gruppieren 13">
            <a:extLst>
              <a:ext uri="{FF2B5EF4-FFF2-40B4-BE49-F238E27FC236}">
                <a16:creationId xmlns:a16="http://schemas.microsoft.com/office/drawing/2014/main" id="{DD5F40E2-AF5A-4A90-B7B3-65E87D743B3C}"/>
              </a:ext>
            </a:extLst>
          </p:cNvPr>
          <p:cNvGrpSpPr/>
          <p:nvPr/>
        </p:nvGrpSpPr>
        <p:grpSpPr bwMode="gray">
          <a:xfrm>
            <a:off x="10804526" y="1"/>
            <a:ext cx="809625" cy="1135063"/>
            <a:chOff x="10804526" y="1"/>
            <a:chExt cx="809625" cy="1135063"/>
          </a:xfrm>
        </p:grpSpPr>
        <p:sp>
          <p:nvSpPr>
            <p:cNvPr id="16" name="Freihandform: Form 15">
              <a:extLst>
                <a:ext uri="{FF2B5EF4-FFF2-40B4-BE49-F238E27FC236}">
                  <a16:creationId xmlns:a16="http://schemas.microsoft.com/office/drawing/2014/main" id="{0068D8CA-B0B6-4A35-A68B-45F97B8A067F}"/>
                </a:ext>
              </a:extLst>
            </p:cNvPr>
            <p:cNvSpPr/>
            <p:nvPr userDrawn="1"/>
          </p:nvSpPr>
          <p:spPr bwMode="gray">
            <a:xfrm>
              <a:off x="10804526" y="1"/>
              <a:ext cx="809625" cy="1135063"/>
            </a:xfrm>
            <a:custGeom>
              <a:avLst/>
              <a:gdLst>
                <a:gd name="connsiteX0" fmla="*/ 0 w 809625"/>
                <a:gd name="connsiteY0" fmla="*/ 0 h 1135063"/>
                <a:gd name="connsiteX1" fmla="*/ 809625 w 809625"/>
                <a:gd name="connsiteY1" fmla="*/ 0 h 1135063"/>
                <a:gd name="connsiteX2" fmla="*/ 809625 w 809625"/>
                <a:gd name="connsiteY2" fmla="*/ 730422 h 1135063"/>
                <a:gd name="connsiteX3" fmla="*/ 404813 w 809625"/>
                <a:gd name="connsiteY3" fmla="*/ 1135063 h 1135063"/>
                <a:gd name="connsiteX4" fmla="*/ 0 w 809625"/>
                <a:gd name="connsiteY4" fmla="*/ 730422 h 1135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1135063">
                  <a:moveTo>
                    <a:pt x="0" y="0"/>
                  </a:moveTo>
                  <a:lnTo>
                    <a:pt x="809625" y="0"/>
                  </a:lnTo>
                  <a:lnTo>
                    <a:pt x="809625" y="730422"/>
                  </a:lnTo>
                  <a:cubicBezTo>
                    <a:pt x="809625" y="953908"/>
                    <a:pt x="628489" y="1135063"/>
                    <a:pt x="404813" y="1135063"/>
                  </a:cubicBezTo>
                  <a:cubicBezTo>
                    <a:pt x="181308" y="1135063"/>
                    <a:pt x="0" y="953908"/>
                    <a:pt x="0" y="73042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bIns="79200" rtlCol="0" anchor="ctr">
              <a:noAutofit/>
            </a:bodyPr>
            <a:lstStyle/>
            <a:p>
              <a:pPr algn="ctr" rtl="0"/>
              <a:endParaRPr lang="en-US" sz="1400" dirty="0"/>
            </a:p>
          </p:txBody>
        </p:sp>
        <p:sp>
          <p:nvSpPr>
            <p:cNvPr id="17" name="Freeform 17">
              <a:extLst>
                <a:ext uri="{FF2B5EF4-FFF2-40B4-BE49-F238E27FC236}">
                  <a16:creationId xmlns:a16="http://schemas.microsoft.com/office/drawing/2014/main" id="{12D23369-8D2E-47A0-AA65-87C8D9174CAC}"/>
                </a:ext>
              </a:extLst>
            </p:cNvPr>
            <p:cNvSpPr>
              <a:spLocks noEditPoints="1"/>
            </p:cNvSpPr>
            <p:nvPr userDrawn="1"/>
          </p:nvSpPr>
          <p:spPr bwMode="gray">
            <a:xfrm>
              <a:off x="10929938" y="487363"/>
              <a:ext cx="595313" cy="320675"/>
            </a:xfrm>
            <a:custGeom>
              <a:avLst/>
              <a:gdLst>
                <a:gd name="T0" fmla="*/ 3270 w 3471"/>
                <a:gd name="T1" fmla="*/ 1872 h 1872"/>
                <a:gd name="T2" fmla="*/ 3137 w 3471"/>
                <a:gd name="T3" fmla="*/ 1817 h 1872"/>
                <a:gd name="T4" fmla="*/ 2679 w 3471"/>
                <a:gd name="T5" fmla="*/ 1358 h 1872"/>
                <a:gd name="T6" fmla="*/ 2677 w 3471"/>
                <a:gd name="T7" fmla="*/ 1096 h 1872"/>
                <a:gd name="T8" fmla="*/ 2806 w 3471"/>
                <a:gd name="T9" fmla="*/ 1042 h 1872"/>
                <a:gd name="T10" fmla="*/ 2939 w 3471"/>
                <a:gd name="T11" fmla="*/ 1098 h 1872"/>
                <a:gd name="T12" fmla="*/ 3397 w 3471"/>
                <a:gd name="T13" fmla="*/ 1557 h 1872"/>
                <a:gd name="T14" fmla="*/ 3452 w 3471"/>
                <a:gd name="T15" fmla="*/ 1688 h 1872"/>
                <a:gd name="T16" fmla="*/ 3399 w 3471"/>
                <a:gd name="T17" fmla="*/ 1819 h 1872"/>
                <a:gd name="T18" fmla="*/ 3270 w 3471"/>
                <a:gd name="T19" fmla="*/ 1872 h 1872"/>
                <a:gd name="T20" fmla="*/ 3270 w 3471"/>
                <a:gd name="T21" fmla="*/ 1872 h 1872"/>
                <a:gd name="T22" fmla="*/ 1787 w 3471"/>
                <a:gd name="T23" fmla="*/ 1872 h 1872"/>
                <a:gd name="T24" fmla="*/ 1658 w 3471"/>
                <a:gd name="T25" fmla="*/ 1819 h 1872"/>
                <a:gd name="T26" fmla="*/ 1605 w 3471"/>
                <a:gd name="T27" fmla="*/ 1688 h 1872"/>
                <a:gd name="T28" fmla="*/ 1660 w 3471"/>
                <a:gd name="T29" fmla="*/ 1557 h 1872"/>
                <a:gd name="T30" fmla="*/ 2119 w 3471"/>
                <a:gd name="T31" fmla="*/ 1098 h 1872"/>
                <a:gd name="T32" fmla="*/ 2252 w 3471"/>
                <a:gd name="T33" fmla="*/ 1042 h 1872"/>
                <a:gd name="T34" fmla="*/ 2381 w 3471"/>
                <a:gd name="T35" fmla="*/ 1096 h 1872"/>
                <a:gd name="T36" fmla="*/ 2379 w 3471"/>
                <a:gd name="T37" fmla="*/ 1358 h 1872"/>
                <a:gd name="T38" fmla="*/ 1920 w 3471"/>
                <a:gd name="T39" fmla="*/ 1817 h 1872"/>
                <a:gd name="T40" fmla="*/ 1787 w 3471"/>
                <a:gd name="T41" fmla="*/ 1872 h 1872"/>
                <a:gd name="T42" fmla="*/ 1787 w 3471"/>
                <a:gd name="T43" fmla="*/ 1872 h 1872"/>
                <a:gd name="T44" fmla="*/ 196 w 3471"/>
                <a:gd name="T45" fmla="*/ 1857 h 1872"/>
                <a:gd name="T46" fmla="*/ 0 w 3471"/>
                <a:gd name="T47" fmla="*/ 1662 h 1872"/>
                <a:gd name="T48" fmla="*/ 0 w 3471"/>
                <a:gd name="T49" fmla="*/ 211 h 1872"/>
                <a:gd name="T50" fmla="*/ 196 w 3471"/>
                <a:gd name="T51" fmla="*/ 16 h 1872"/>
                <a:gd name="T52" fmla="*/ 1219 w 3471"/>
                <a:gd name="T53" fmla="*/ 16 h 1872"/>
                <a:gd name="T54" fmla="*/ 1390 w 3471"/>
                <a:gd name="T55" fmla="*/ 185 h 1872"/>
                <a:gd name="T56" fmla="*/ 1219 w 3471"/>
                <a:gd name="T57" fmla="*/ 354 h 1872"/>
                <a:gd name="T58" fmla="*/ 372 w 3471"/>
                <a:gd name="T59" fmla="*/ 354 h 1872"/>
                <a:gd name="T60" fmla="*/ 372 w 3471"/>
                <a:gd name="T61" fmla="*/ 1518 h 1872"/>
                <a:gd name="T62" fmla="*/ 1232 w 3471"/>
                <a:gd name="T63" fmla="*/ 1518 h 1872"/>
                <a:gd name="T64" fmla="*/ 1404 w 3471"/>
                <a:gd name="T65" fmla="*/ 1688 h 1872"/>
                <a:gd name="T66" fmla="*/ 1232 w 3471"/>
                <a:gd name="T67" fmla="*/ 1857 h 1872"/>
                <a:gd name="T68" fmla="*/ 196 w 3471"/>
                <a:gd name="T69" fmla="*/ 1857 h 1872"/>
                <a:gd name="T70" fmla="*/ 590 w 3471"/>
                <a:gd name="T71" fmla="*/ 1099 h 1872"/>
                <a:gd name="T72" fmla="*/ 590 w 3471"/>
                <a:gd name="T73" fmla="*/ 761 h 1872"/>
                <a:gd name="T74" fmla="*/ 1628 w 3471"/>
                <a:gd name="T75" fmla="*/ 761 h 1872"/>
                <a:gd name="T76" fmla="*/ 1800 w 3471"/>
                <a:gd name="T77" fmla="*/ 930 h 1872"/>
                <a:gd name="T78" fmla="*/ 1628 w 3471"/>
                <a:gd name="T79" fmla="*/ 1099 h 1872"/>
                <a:gd name="T80" fmla="*/ 590 w 3471"/>
                <a:gd name="T81" fmla="*/ 1099 h 1872"/>
                <a:gd name="T82" fmla="*/ 2806 w 3471"/>
                <a:gd name="T83" fmla="*/ 831 h 1872"/>
                <a:gd name="T84" fmla="*/ 2677 w 3471"/>
                <a:gd name="T85" fmla="*/ 777 h 1872"/>
                <a:gd name="T86" fmla="*/ 2679 w 3471"/>
                <a:gd name="T87" fmla="*/ 515 h 1872"/>
                <a:gd name="T88" fmla="*/ 3137 w 3471"/>
                <a:gd name="T89" fmla="*/ 56 h 1872"/>
                <a:gd name="T90" fmla="*/ 3270 w 3471"/>
                <a:gd name="T91" fmla="*/ 0 h 1872"/>
                <a:gd name="T92" fmla="*/ 3399 w 3471"/>
                <a:gd name="T93" fmla="*/ 54 h 1872"/>
                <a:gd name="T94" fmla="*/ 3397 w 3471"/>
                <a:gd name="T95" fmla="*/ 316 h 1872"/>
                <a:gd name="T96" fmla="*/ 2939 w 3471"/>
                <a:gd name="T97" fmla="*/ 775 h 1872"/>
                <a:gd name="T98" fmla="*/ 2806 w 3471"/>
                <a:gd name="T99" fmla="*/ 831 h 1872"/>
                <a:gd name="T100" fmla="*/ 2252 w 3471"/>
                <a:gd name="T101" fmla="*/ 831 h 1872"/>
                <a:gd name="T102" fmla="*/ 2119 w 3471"/>
                <a:gd name="T103" fmla="*/ 775 h 1872"/>
                <a:gd name="T104" fmla="*/ 1660 w 3471"/>
                <a:gd name="T105" fmla="*/ 316 h 1872"/>
                <a:gd name="T106" fmla="*/ 1658 w 3471"/>
                <a:gd name="T107" fmla="*/ 54 h 1872"/>
                <a:gd name="T108" fmla="*/ 1787 w 3471"/>
                <a:gd name="T109" fmla="*/ 0 h 1872"/>
                <a:gd name="T110" fmla="*/ 1920 w 3471"/>
                <a:gd name="T111" fmla="*/ 56 h 1872"/>
                <a:gd name="T112" fmla="*/ 2379 w 3471"/>
                <a:gd name="T113" fmla="*/ 515 h 1872"/>
                <a:gd name="T114" fmla="*/ 2381 w 3471"/>
                <a:gd name="T115" fmla="*/ 777 h 1872"/>
                <a:gd name="T116" fmla="*/ 2252 w 3471"/>
                <a:gd name="T117" fmla="*/ 831 h 1872"/>
                <a:gd name="T118" fmla="*/ 2252 w 3471"/>
                <a:gd name="T119" fmla="*/ 831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71" h="1872">
                  <a:moveTo>
                    <a:pt x="3270" y="1872"/>
                  </a:moveTo>
                  <a:cubicBezTo>
                    <a:pt x="3220" y="1872"/>
                    <a:pt x="3173" y="1853"/>
                    <a:pt x="3137" y="1817"/>
                  </a:cubicBezTo>
                  <a:lnTo>
                    <a:pt x="2679" y="1358"/>
                  </a:lnTo>
                  <a:cubicBezTo>
                    <a:pt x="2606" y="1285"/>
                    <a:pt x="2605" y="1167"/>
                    <a:pt x="2677" y="1096"/>
                  </a:cubicBezTo>
                  <a:cubicBezTo>
                    <a:pt x="2711" y="1061"/>
                    <a:pt x="2757" y="1042"/>
                    <a:pt x="2806" y="1042"/>
                  </a:cubicBezTo>
                  <a:cubicBezTo>
                    <a:pt x="2856" y="1042"/>
                    <a:pt x="2903" y="1062"/>
                    <a:pt x="2939" y="1098"/>
                  </a:cubicBezTo>
                  <a:lnTo>
                    <a:pt x="3397" y="1557"/>
                  </a:lnTo>
                  <a:cubicBezTo>
                    <a:pt x="3432" y="1592"/>
                    <a:pt x="3452" y="1639"/>
                    <a:pt x="3452" y="1688"/>
                  </a:cubicBezTo>
                  <a:cubicBezTo>
                    <a:pt x="3453" y="1738"/>
                    <a:pt x="3434" y="1784"/>
                    <a:pt x="3399" y="1819"/>
                  </a:cubicBezTo>
                  <a:cubicBezTo>
                    <a:pt x="3365" y="1854"/>
                    <a:pt x="3319" y="1872"/>
                    <a:pt x="3270" y="1872"/>
                  </a:cubicBezTo>
                  <a:lnTo>
                    <a:pt x="3270" y="1872"/>
                  </a:lnTo>
                  <a:close/>
                  <a:moveTo>
                    <a:pt x="1787" y="1872"/>
                  </a:moveTo>
                  <a:cubicBezTo>
                    <a:pt x="1739" y="1872"/>
                    <a:pt x="1693" y="1854"/>
                    <a:pt x="1658" y="1819"/>
                  </a:cubicBezTo>
                  <a:cubicBezTo>
                    <a:pt x="1624" y="1784"/>
                    <a:pt x="1605" y="1738"/>
                    <a:pt x="1605" y="1688"/>
                  </a:cubicBezTo>
                  <a:cubicBezTo>
                    <a:pt x="1605" y="1639"/>
                    <a:pt x="1625" y="1592"/>
                    <a:pt x="1660" y="1557"/>
                  </a:cubicBezTo>
                  <a:lnTo>
                    <a:pt x="2119" y="1098"/>
                  </a:lnTo>
                  <a:cubicBezTo>
                    <a:pt x="2154" y="1062"/>
                    <a:pt x="2202" y="1042"/>
                    <a:pt x="2252" y="1042"/>
                  </a:cubicBezTo>
                  <a:cubicBezTo>
                    <a:pt x="2300" y="1042"/>
                    <a:pt x="2346" y="1061"/>
                    <a:pt x="2381" y="1096"/>
                  </a:cubicBezTo>
                  <a:cubicBezTo>
                    <a:pt x="2452" y="1167"/>
                    <a:pt x="2451" y="1285"/>
                    <a:pt x="2379" y="1358"/>
                  </a:cubicBezTo>
                  <a:lnTo>
                    <a:pt x="1920" y="1817"/>
                  </a:lnTo>
                  <a:cubicBezTo>
                    <a:pt x="1885" y="1853"/>
                    <a:pt x="1837" y="1872"/>
                    <a:pt x="1787" y="1872"/>
                  </a:cubicBezTo>
                  <a:cubicBezTo>
                    <a:pt x="1787" y="1872"/>
                    <a:pt x="1787" y="1872"/>
                    <a:pt x="1787" y="1872"/>
                  </a:cubicBezTo>
                  <a:close/>
                  <a:moveTo>
                    <a:pt x="196" y="1857"/>
                  </a:moveTo>
                  <a:cubicBezTo>
                    <a:pt x="87" y="1857"/>
                    <a:pt x="0" y="1771"/>
                    <a:pt x="0" y="1662"/>
                  </a:cubicBezTo>
                  <a:lnTo>
                    <a:pt x="0" y="211"/>
                  </a:lnTo>
                  <a:cubicBezTo>
                    <a:pt x="0" y="102"/>
                    <a:pt x="87" y="16"/>
                    <a:pt x="196" y="16"/>
                  </a:cubicBezTo>
                  <a:lnTo>
                    <a:pt x="1219" y="16"/>
                  </a:lnTo>
                  <a:cubicBezTo>
                    <a:pt x="1313" y="16"/>
                    <a:pt x="1390" y="92"/>
                    <a:pt x="1390" y="185"/>
                  </a:cubicBezTo>
                  <a:cubicBezTo>
                    <a:pt x="1390" y="278"/>
                    <a:pt x="1313" y="354"/>
                    <a:pt x="1219" y="354"/>
                  </a:cubicBezTo>
                  <a:lnTo>
                    <a:pt x="372" y="354"/>
                  </a:lnTo>
                  <a:lnTo>
                    <a:pt x="372" y="1518"/>
                  </a:lnTo>
                  <a:lnTo>
                    <a:pt x="1232" y="1518"/>
                  </a:lnTo>
                  <a:cubicBezTo>
                    <a:pt x="1327" y="1518"/>
                    <a:pt x="1404" y="1594"/>
                    <a:pt x="1404" y="1688"/>
                  </a:cubicBezTo>
                  <a:cubicBezTo>
                    <a:pt x="1404" y="1781"/>
                    <a:pt x="1327" y="1857"/>
                    <a:pt x="1232" y="1857"/>
                  </a:cubicBezTo>
                  <a:lnTo>
                    <a:pt x="196" y="1857"/>
                  </a:lnTo>
                  <a:close/>
                  <a:moveTo>
                    <a:pt x="590" y="1099"/>
                  </a:moveTo>
                  <a:lnTo>
                    <a:pt x="590" y="761"/>
                  </a:lnTo>
                  <a:lnTo>
                    <a:pt x="1628" y="761"/>
                  </a:lnTo>
                  <a:cubicBezTo>
                    <a:pt x="1723" y="761"/>
                    <a:pt x="1800" y="837"/>
                    <a:pt x="1800" y="930"/>
                  </a:cubicBezTo>
                  <a:cubicBezTo>
                    <a:pt x="1800" y="1023"/>
                    <a:pt x="1723" y="1099"/>
                    <a:pt x="1628" y="1099"/>
                  </a:cubicBezTo>
                  <a:lnTo>
                    <a:pt x="590" y="1099"/>
                  </a:lnTo>
                  <a:close/>
                  <a:moveTo>
                    <a:pt x="2806" y="831"/>
                  </a:moveTo>
                  <a:cubicBezTo>
                    <a:pt x="2757" y="831"/>
                    <a:pt x="2711" y="812"/>
                    <a:pt x="2677" y="777"/>
                  </a:cubicBezTo>
                  <a:cubicBezTo>
                    <a:pt x="2605" y="706"/>
                    <a:pt x="2606" y="588"/>
                    <a:pt x="2679" y="515"/>
                  </a:cubicBezTo>
                  <a:lnTo>
                    <a:pt x="3137" y="56"/>
                  </a:lnTo>
                  <a:cubicBezTo>
                    <a:pt x="3173" y="20"/>
                    <a:pt x="3220" y="0"/>
                    <a:pt x="3270" y="0"/>
                  </a:cubicBezTo>
                  <a:cubicBezTo>
                    <a:pt x="3319" y="0"/>
                    <a:pt x="3365" y="19"/>
                    <a:pt x="3399" y="54"/>
                  </a:cubicBezTo>
                  <a:cubicBezTo>
                    <a:pt x="3471" y="126"/>
                    <a:pt x="3470" y="243"/>
                    <a:pt x="3397" y="316"/>
                  </a:cubicBezTo>
                  <a:lnTo>
                    <a:pt x="2939" y="775"/>
                  </a:lnTo>
                  <a:cubicBezTo>
                    <a:pt x="2903" y="811"/>
                    <a:pt x="2856" y="831"/>
                    <a:pt x="2806" y="831"/>
                  </a:cubicBezTo>
                  <a:close/>
                  <a:moveTo>
                    <a:pt x="2252" y="831"/>
                  </a:moveTo>
                  <a:cubicBezTo>
                    <a:pt x="2202" y="831"/>
                    <a:pt x="2154" y="811"/>
                    <a:pt x="2119" y="775"/>
                  </a:cubicBezTo>
                  <a:lnTo>
                    <a:pt x="1660" y="316"/>
                  </a:lnTo>
                  <a:cubicBezTo>
                    <a:pt x="1588" y="243"/>
                    <a:pt x="1587" y="126"/>
                    <a:pt x="1658" y="54"/>
                  </a:cubicBezTo>
                  <a:cubicBezTo>
                    <a:pt x="1693" y="19"/>
                    <a:pt x="1739" y="0"/>
                    <a:pt x="1787" y="0"/>
                  </a:cubicBezTo>
                  <a:cubicBezTo>
                    <a:pt x="1837" y="0"/>
                    <a:pt x="1885" y="20"/>
                    <a:pt x="1920" y="56"/>
                  </a:cubicBezTo>
                  <a:lnTo>
                    <a:pt x="2379" y="515"/>
                  </a:lnTo>
                  <a:cubicBezTo>
                    <a:pt x="2451" y="588"/>
                    <a:pt x="2452" y="706"/>
                    <a:pt x="2381" y="777"/>
                  </a:cubicBezTo>
                  <a:cubicBezTo>
                    <a:pt x="2346" y="812"/>
                    <a:pt x="2300" y="831"/>
                    <a:pt x="2252" y="831"/>
                  </a:cubicBezTo>
                  <a:lnTo>
                    <a:pt x="2252" y="831"/>
                  </a:lnTo>
                  <a:close/>
                </a:path>
              </a:pathLst>
            </a:custGeom>
            <a:solidFill>
              <a:srgbClr val="20175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US" dirty="0"/>
            </a:p>
          </p:txBody>
        </p:sp>
      </p:grpSp>
    </p:spTree>
    <p:extLst>
      <p:ext uri="{BB962C8B-B14F-4D97-AF65-F5344CB8AC3E}">
        <p14:creationId xmlns:p14="http://schemas.microsoft.com/office/powerpoint/2010/main" val="163819444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vier | Light Grey">
    <p:bg bwMode="auto">
      <p:bgPr>
        <a:solidFill>
          <a:srgbClr val="F3F3F3"/>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8253AAC-0B56-48A4-8617-D2B23B9BFC56}"/>
              </a:ext>
            </a:extLst>
          </p:cNvPr>
          <p:cNvGraphicFramePr>
            <a:graphicFrameLocks noChangeAspect="1"/>
          </p:cNvGraphicFramePr>
          <p:nvPr userDrawn="1">
            <p:custDataLst>
              <p:tags r:id="rId2"/>
            </p:custDataLst>
            <p:extLst>
              <p:ext uri="{D42A27DB-BD31-4B8C-83A1-F6EECF244321}">
                <p14:modId xmlns:p14="http://schemas.microsoft.com/office/powerpoint/2010/main" val="3126625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97" name="think-cell Folie" r:id="rId4" imgW="359" imgH="358" progId="TCLayout.ActiveDocument.1">
                  <p:embed/>
                </p:oleObj>
              </mc:Choice>
              <mc:Fallback>
                <p:oleObj name="think-cell Folie" r:id="rId4" imgW="359" imgH="358" progId="TCLayout.ActiveDocument.1">
                  <p:embed/>
                  <p:pic>
                    <p:nvPicPr>
                      <p:cNvPr id="5" name="Objekt 4" hidden="1">
                        <a:extLst>
                          <a:ext uri="{FF2B5EF4-FFF2-40B4-BE49-F238E27FC236}">
                            <a16:creationId xmlns:a16="http://schemas.microsoft.com/office/drawing/2014/main" id="{58253AAC-0B56-48A4-8617-D2B23B9BFC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DFFA6D0-AB8A-4F44-9727-A1CE86F10CC6}"/>
              </a:ext>
            </a:extLst>
          </p:cNvPr>
          <p:cNvSpPr>
            <a:spLocks noGrp="1"/>
          </p:cNvSpPr>
          <p:nvPr>
            <p:ph type="title" hasCustomPrompt="1"/>
          </p:nvPr>
        </p:nvSpPr>
        <p:spPr bwMode="gray">
          <a:xfrm>
            <a:off x="1566774" y="1923421"/>
            <a:ext cx="5256213" cy="1569887"/>
          </a:xfrm>
        </p:spPr>
        <p:txBody>
          <a:bodyPr vert="horz"/>
          <a:lstStyle>
            <a:lvl1pPr rtl="0">
              <a:lnSpc>
                <a:spcPct val="100000"/>
              </a:lnSpc>
              <a:defRPr sz="3800" b="1">
                <a:solidFill>
                  <a:schemeClr val="tx1"/>
                </a:solidFill>
              </a:defRPr>
            </a:lvl1pPr>
          </a:lstStyle>
          <a:p>
            <a:r>
              <a:rPr lang="en-US" noProof="0" dirty="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rtl="0">
              <a:lnSpc>
                <a:spcPct val="100000"/>
              </a:lnSpc>
              <a:buNone/>
              <a:defRPr sz="10400" b="1">
                <a:solidFill>
                  <a:schemeClr val="tx2"/>
                </a:solidFill>
              </a:defRPr>
            </a:lvl1pPr>
          </a:lstStyle>
          <a:p>
            <a:pPr lvl="0"/>
            <a:r>
              <a:rPr lang="en-US" noProof="0" dirty="0"/>
              <a:t>0</a:t>
            </a:r>
          </a:p>
        </p:txBody>
      </p:sp>
      <p:grpSp>
        <p:nvGrpSpPr>
          <p:cNvPr id="16" name="Gruppieren 15">
            <a:extLst>
              <a:ext uri="{FF2B5EF4-FFF2-40B4-BE49-F238E27FC236}">
                <a16:creationId xmlns:a16="http://schemas.microsoft.com/office/drawing/2014/main" id="{71E2CAEB-5D4E-47C0-9BF0-585D66D109D8}"/>
              </a:ext>
            </a:extLst>
          </p:cNvPr>
          <p:cNvGrpSpPr/>
          <p:nvPr/>
        </p:nvGrpSpPr>
        <p:grpSpPr bwMode="gray">
          <a:xfrm>
            <a:off x="10476600" y="2060848"/>
            <a:ext cx="1715400" cy="3430800"/>
            <a:chOff x="10476600" y="2060848"/>
            <a:chExt cx="1715400" cy="3430800"/>
          </a:xfrm>
        </p:grpSpPr>
        <p:sp>
          <p:nvSpPr>
            <p:cNvPr id="6" name="Freihandform: Form 5">
              <a:extLst>
                <a:ext uri="{FF2B5EF4-FFF2-40B4-BE49-F238E27FC236}">
                  <a16:creationId xmlns:a16="http://schemas.microsoft.com/office/drawing/2014/main" id="{A36AA7D8-79F9-48F8-8D50-76B559AE5B2B}"/>
                </a:ext>
              </a:extLst>
            </p:cNvPr>
            <p:cNvSpPr/>
            <p:nvPr/>
          </p:nvSpPr>
          <p:spPr bwMode="gray">
            <a:xfrm>
              <a:off x="10476600" y="37762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pPr rtl="0"/>
              <a:endParaRPr lang="en-US" dirty="0"/>
            </a:p>
          </p:txBody>
        </p:sp>
        <p:sp>
          <p:nvSpPr>
            <p:cNvPr id="7" name="Freihandform: Form 6">
              <a:extLst>
                <a:ext uri="{FF2B5EF4-FFF2-40B4-BE49-F238E27FC236}">
                  <a16:creationId xmlns:a16="http://schemas.microsoft.com/office/drawing/2014/main" id="{36C21FC3-1FD1-447D-8444-AD56837E0D3B}"/>
                </a:ext>
              </a:extLst>
            </p:cNvPr>
            <p:cNvSpPr/>
            <p:nvPr/>
          </p:nvSpPr>
          <p:spPr bwMode="gray">
            <a:xfrm>
              <a:off x="11334300" y="46339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pPr rtl="0"/>
              <a:endParaRPr lang="en-US" dirty="0"/>
            </a:p>
          </p:txBody>
        </p:sp>
        <p:sp>
          <p:nvSpPr>
            <p:cNvPr id="8" name="Freihandform: Form 7">
              <a:extLst>
                <a:ext uri="{FF2B5EF4-FFF2-40B4-BE49-F238E27FC236}">
                  <a16:creationId xmlns:a16="http://schemas.microsoft.com/office/drawing/2014/main" id="{53FA56F5-25C4-42FE-8D43-E3DC69FCAA4F}"/>
                </a:ext>
              </a:extLst>
            </p:cNvPr>
            <p:cNvSpPr/>
            <p:nvPr/>
          </p:nvSpPr>
          <p:spPr bwMode="gray">
            <a:xfrm>
              <a:off x="10476600" y="2060848"/>
              <a:ext cx="1715400" cy="1715400"/>
            </a:xfrm>
            <a:custGeom>
              <a:avLst/>
              <a:gdLst>
                <a:gd name="connsiteX0" fmla="*/ 857700 w 1715400"/>
                <a:gd name="connsiteY0" fmla="*/ 857700 h 1715400"/>
                <a:gd name="connsiteX1" fmla="*/ 1715400 w 1715400"/>
                <a:gd name="connsiteY1" fmla="*/ 1715400 h 1715400"/>
                <a:gd name="connsiteX2" fmla="*/ 857700 w 1715400"/>
                <a:gd name="connsiteY2" fmla="*/ 1715400 h 1715400"/>
                <a:gd name="connsiteX3" fmla="*/ 0 w 1715400"/>
                <a:gd name="connsiteY3" fmla="*/ 857700 h 1715400"/>
                <a:gd name="connsiteX4" fmla="*/ 0 w 1715400"/>
                <a:gd name="connsiteY4" fmla="*/ 0 h 171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400" h="1715400">
                  <a:moveTo>
                    <a:pt x="857700" y="857700"/>
                  </a:moveTo>
                  <a:lnTo>
                    <a:pt x="1715400" y="1715400"/>
                  </a:lnTo>
                  <a:lnTo>
                    <a:pt x="857700" y="1715400"/>
                  </a:lnTo>
                  <a:lnTo>
                    <a:pt x="0" y="857700"/>
                  </a:lnTo>
                  <a:lnTo>
                    <a:pt x="0" y="0"/>
                  </a:lnTo>
                  <a:close/>
                </a:path>
              </a:pathLst>
            </a:custGeom>
            <a:solidFill>
              <a:srgbClr val="201751"/>
            </a:solidFill>
            <a:ln w="8572" cap="flat">
              <a:noFill/>
              <a:prstDash val="solid"/>
              <a:miter/>
            </a:ln>
          </p:spPr>
          <p:txBody>
            <a:bodyPr rtlCol="0" anchor="ctr"/>
            <a:lstStyle/>
            <a:p>
              <a:pPr rtl="0"/>
              <a:endParaRPr lang="en-US" dirty="0"/>
            </a:p>
          </p:txBody>
        </p:sp>
      </p:grpSp>
      <p:sp>
        <p:nvSpPr>
          <p:cNvPr id="3" name="Date Placeholder 2">
            <a:extLst>
              <a:ext uri="{FF2B5EF4-FFF2-40B4-BE49-F238E27FC236}">
                <a16:creationId xmlns:a16="http://schemas.microsoft.com/office/drawing/2014/main" id="{AD19CB23-D378-4548-9D52-5D434F268FAC}"/>
              </a:ext>
            </a:extLst>
          </p:cNvPr>
          <p:cNvSpPr>
            <a:spLocks noGrp="1"/>
          </p:cNvSpPr>
          <p:nvPr>
            <p:ph type="dt" sz="half" idx="11"/>
          </p:nvPr>
        </p:nvSpPr>
        <p:spPr bwMode="gray"/>
        <p:txBody>
          <a:bodyPr/>
          <a:lstStyle>
            <a:lvl1pPr rtl="0">
              <a:defRPr/>
            </a:lvl1pPr>
          </a:lstStyle>
          <a:p>
            <a:fld id="{53DA309C-AD0B-407F-B255-344960535C8A}" type="datetime1">
              <a:rPr lang="en-US"/>
              <a:t>1/16/2022</a:t>
            </a:fld>
            <a:endParaRPr lang="en-US" dirty="0"/>
          </a:p>
        </p:txBody>
      </p:sp>
      <p:sp>
        <p:nvSpPr>
          <p:cNvPr id="10" name="Slide Number Placeholder 9">
            <a:extLst>
              <a:ext uri="{FF2B5EF4-FFF2-40B4-BE49-F238E27FC236}">
                <a16:creationId xmlns:a16="http://schemas.microsoft.com/office/drawing/2014/main" id="{96F70DAE-5C8B-4EE1-910D-AE01F863E1C2}"/>
              </a:ext>
            </a:extLst>
          </p:cNvPr>
          <p:cNvSpPr>
            <a:spLocks noGrp="1"/>
          </p:cNvSpPr>
          <p:nvPr>
            <p:ph type="sldNum" sz="quarter" idx="12"/>
          </p:nvPr>
        </p:nvSpPr>
        <p:spPr bwMode="gray"/>
        <p:txBody>
          <a:bodyPr/>
          <a:lstStyle>
            <a:lvl1pPr rtl="0">
              <a:defRPr/>
            </a:lvl1pPr>
          </a:lstStyle>
          <a:p>
            <a:fld id="{62CB3E74-FC4B-418A-B5F6-72ED80208EB2}" type="slidenum">
              <a:rPr lang="en-US"/>
              <a:pPr/>
              <a:t>‹#›</a:t>
            </a:fld>
            <a:endParaRPr lang="en-US" dirty="0"/>
          </a:p>
        </p:txBody>
      </p:sp>
      <p:grpSp>
        <p:nvGrpSpPr>
          <p:cNvPr id="12" name="Gruppieren 11">
            <a:extLst>
              <a:ext uri="{FF2B5EF4-FFF2-40B4-BE49-F238E27FC236}">
                <a16:creationId xmlns:a16="http://schemas.microsoft.com/office/drawing/2014/main" id="{5D2DBEFD-AC8D-4F5B-BBCC-D9E5C46AAA1F}"/>
              </a:ext>
            </a:extLst>
          </p:cNvPr>
          <p:cNvGrpSpPr/>
          <p:nvPr/>
        </p:nvGrpSpPr>
        <p:grpSpPr bwMode="gray">
          <a:xfrm>
            <a:off x="10804526" y="1"/>
            <a:ext cx="809625" cy="1135063"/>
            <a:chOff x="10804526" y="1"/>
            <a:chExt cx="809625" cy="1135063"/>
          </a:xfrm>
        </p:grpSpPr>
        <p:sp>
          <p:nvSpPr>
            <p:cNvPr id="13" name="Freihandform: Form 12">
              <a:extLst>
                <a:ext uri="{FF2B5EF4-FFF2-40B4-BE49-F238E27FC236}">
                  <a16:creationId xmlns:a16="http://schemas.microsoft.com/office/drawing/2014/main" id="{26801EDD-AFCB-49F8-8124-9413C500C994}"/>
                </a:ext>
              </a:extLst>
            </p:cNvPr>
            <p:cNvSpPr/>
            <p:nvPr userDrawn="1"/>
          </p:nvSpPr>
          <p:spPr bwMode="gray">
            <a:xfrm>
              <a:off x="10804526" y="1"/>
              <a:ext cx="809625" cy="1135063"/>
            </a:xfrm>
            <a:custGeom>
              <a:avLst/>
              <a:gdLst>
                <a:gd name="connsiteX0" fmla="*/ 0 w 809625"/>
                <a:gd name="connsiteY0" fmla="*/ 0 h 1135063"/>
                <a:gd name="connsiteX1" fmla="*/ 809625 w 809625"/>
                <a:gd name="connsiteY1" fmla="*/ 0 h 1135063"/>
                <a:gd name="connsiteX2" fmla="*/ 809625 w 809625"/>
                <a:gd name="connsiteY2" fmla="*/ 730422 h 1135063"/>
                <a:gd name="connsiteX3" fmla="*/ 404813 w 809625"/>
                <a:gd name="connsiteY3" fmla="*/ 1135063 h 1135063"/>
                <a:gd name="connsiteX4" fmla="*/ 0 w 809625"/>
                <a:gd name="connsiteY4" fmla="*/ 730422 h 1135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1135063">
                  <a:moveTo>
                    <a:pt x="0" y="0"/>
                  </a:moveTo>
                  <a:lnTo>
                    <a:pt x="809625" y="0"/>
                  </a:lnTo>
                  <a:lnTo>
                    <a:pt x="809625" y="730422"/>
                  </a:lnTo>
                  <a:cubicBezTo>
                    <a:pt x="809625" y="953908"/>
                    <a:pt x="628489" y="1135063"/>
                    <a:pt x="404813" y="1135063"/>
                  </a:cubicBezTo>
                  <a:cubicBezTo>
                    <a:pt x="181308" y="1135063"/>
                    <a:pt x="0" y="953908"/>
                    <a:pt x="0" y="730422"/>
                  </a:cubicBezTo>
                  <a:close/>
                </a:path>
              </a:pathLst>
            </a:custGeom>
            <a:solidFill>
              <a:srgbClr val="20175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bIns="79200" rtlCol="0" anchor="ctr">
              <a:noAutofit/>
            </a:bodyPr>
            <a:lstStyle/>
            <a:p>
              <a:pPr algn="ctr" rtl="0"/>
              <a:endParaRPr lang="en-US" sz="1400" dirty="0"/>
            </a:p>
          </p:txBody>
        </p:sp>
        <p:sp>
          <p:nvSpPr>
            <p:cNvPr id="14" name="Freeform 17">
              <a:extLst>
                <a:ext uri="{FF2B5EF4-FFF2-40B4-BE49-F238E27FC236}">
                  <a16:creationId xmlns:a16="http://schemas.microsoft.com/office/drawing/2014/main" id="{48B2D73B-F1A3-4A7A-902F-E27CC6C50EA1}"/>
                </a:ext>
              </a:extLst>
            </p:cNvPr>
            <p:cNvSpPr>
              <a:spLocks noEditPoints="1"/>
            </p:cNvSpPr>
            <p:nvPr userDrawn="1"/>
          </p:nvSpPr>
          <p:spPr bwMode="gray">
            <a:xfrm>
              <a:off x="10929938" y="487363"/>
              <a:ext cx="595313" cy="320675"/>
            </a:xfrm>
            <a:custGeom>
              <a:avLst/>
              <a:gdLst>
                <a:gd name="T0" fmla="*/ 3270 w 3471"/>
                <a:gd name="T1" fmla="*/ 1872 h 1872"/>
                <a:gd name="T2" fmla="*/ 3137 w 3471"/>
                <a:gd name="T3" fmla="*/ 1817 h 1872"/>
                <a:gd name="T4" fmla="*/ 2679 w 3471"/>
                <a:gd name="T5" fmla="*/ 1358 h 1872"/>
                <a:gd name="T6" fmla="*/ 2677 w 3471"/>
                <a:gd name="T7" fmla="*/ 1096 h 1872"/>
                <a:gd name="T8" fmla="*/ 2806 w 3471"/>
                <a:gd name="T9" fmla="*/ 1042 h 1872"/>
                <a:gd name="T10" fmla="*/ 2939 w 3471"/>
                <a:gd name="T11" fmla="*/ 1098 h 1872"/>
                <a:gd name="T12" fmla="*/ 3397 w 3471"/>
                <a:gd name="T13" fmla="*/ 1557 h 1872"/>
                <a:gd name="T14" fmla="*/ 3452 w 3471"/>
                <a:gd name="T15" fmla="*/ 1688 h 1872"/>
                <a:gd name="T16" fmla="*/ 3399 w 3471"/>
                <a:gd name="T17" fmla="*/ 1819 h 1872"/>
                <a:gd name="T18" fmla="*/ 3270 w 3471"/>
                <a:gd name="T19" fmla="*/ 1872 h 1872"/>
                <a:gd name="T20" fmla="*/ 3270 w 3471"/>
                <a:gd name="T21" fmla="*/ 1872 h 1872"/>
                <a:gd name="T22" fmla="*/ 1787 w 3471"/>
                <a:gd name="T23" fmla="*/ 1872 h 1872"/>
                <a:gd name="T24" fmla="*/ 1658 w 3471"/>
                <a:gd name="T25" fmla="*/ 1819 h 1872"/>
                <a:gd name="T26" fmla="*/ 1605 w 3471"/>
                <a:gd name="T27" fmla="*/ 1688 h 1872"/>
                <a:gd name="T28" fmla="*/ 1660 w 3471"/>
                <a:gd name="T29" fmla="*/ 1557 h 1872"/>
                <a:gd name="T30" fmla="*/ 2119 w 3471"/>
                <a:gd name="T31" fmla="*/ 1098 h 1872"/>
                <a:gd name="T32" fmla="*/ 2252 w 3471"/>
                <a:gd name="T33" fmla="*/ 1042 h 1872"/>
                <a:gd name="T34" fmla="*/ 2381 w 3471"/>
                <a:gd name="T35" fmla="*/ 1096 h 1872"/>
                <a:gd name="T36" fmla="*/ 2379 w 3471"/>
                <a:gd name="T37" fmla="*/ 1358 h 1872"/>
                <a:gd name="T38" fmla="*/ 1920 w 3471"/>
                <a:gd name="T39" fmla="*/ 1817 h 1872"/>
                <a:gd name="T40" fmla="*/ 1787 w 3471"/>
                <a:gd name="T41" fmla="*/ 1872 h 1872"/>
                <a:gd name="T42" fmla="*/ 1787 w 3471"/>
                <a:gd name="T43" fmla="*/ 1872 h 1872"/>
                <a:gd name="T44" fmla="*/ 196 w 3471"/>
                <a:gd name="T45" fmla="*/ 1857 h 1872"/>
                <a:gd name="T46" fmla="*/ 0 w 3471"/>
                <a:gd name="T47" fmla="*/ 1662 h 1872"/>
                <a:gd name="T48" fmla="*/ 0 w 3471"/>
                <a:gd name="T49" fmla="*/ 211 h 1872"/>
                <a:gd name="T50" fmla="*/ 196 w 3471"/>
                <a:gd name="T51" fmla="*/ 16 h 1872"/>
                <a:gd name="T52" fmla="*/ 1219 w 3471"/>
                <a:gd name="T53" fmla="*/ 16 h 1872"/>
                <a:gd name="T54" fmla="*/ 1390 w 3471"/>
                <a:gd name="T55" fmla="*/ 185 h 1872"/>
                <a:gd name="T56" fmla="*/ 1219 w 3471"/>
                <a:gd name="T57" fmla="*/ 354 h 1872"/>
                <a:gd name="T58" fmla="*/ 372 w 3471"/>
                <a:gd name="T59" fmla="*/ 354 h 1872"/>
                <a:gd name="T60" fmla="*/ 372 w 3471"/>
                <a:gd name="T61" fmla="*/ 1518 h 1872"/>
                <a:gd name="T62" fmla="*/ 1232 w 3471"/>
                <a:gd name="T63" fmla="*/ 1518 h 1872"/>
                <a:gd name="T64" fmla="*/ 1404 w 3471"/>
                <a:gd name="T65" fmla="*/ 1688 h 1872"/>
                <a:gd name="T66" fmla="*/ 1232 w 3471"/>
                <a:gd name="T67" fmla="*/ 1857 h 1872"/>
                <a:gd name="T68" fmla="*/ 196 w 3471"/>
                <a:gd name="T69" fmla="*/ 1857 h 1872"/>
                <a:gd name="T70" fmla="*/ 590 w 3471"/>
                <a:gd name="T71" fmla="*/ 1099 h 1872"/>
                <a:gd name="T72" fmla="*/ 590 w 3471"/>
                <a:gd name="T73" fmla="*/ 761 h 1872"/>
                <a:gd name="T74" fmla="*/ 1628 w 3471"/>
                <a:gd name="T75" fmla="*/ 761 h 1872"/>
                <a:gd name="T76" fmla="*/ 1800 w 3471"/>
                <a:gd name="T77" fmla="*/ 930 h 1872"/>
                <a:gd name="T78" fmla="*/ 1628 w 3471"/>
                <a:gd name="T79" fmla="*/ 1099 h 1872"/>
                <a:gd name="T80" fmla="*/ 590 w 3471"/>
                <a:gd name="T81" fmla="*/ 1099 h 1872"/>
                <a:gd name="T82" fmla="*/ 2806 w 3471"/>
                <a:gd name="T83" fmla="*/ 831 h 1872"/>
                <a:gd name="T84" fmla="*/ 2677 w 3471"/>
                <a:gd name="T85" fmla="*/ 777 h 1872"/>
                <a:gd name="T86" fmla="*/ 2679 w 3471"/>
                <a:gd name="T87" fmla="*/ 515 h 1872"/>
                <a:gd name="T88" fmla="*/ 3137 w 3471"/>
                <a:gd name="T89" fmla="*/ 56 h 1872"/>
                <a:gd name="T90" fmla="*/ 3270 w 3471"/>
                <a:gd name="T91" fmla="*/ 0 h 1872"/>
                <a:gd name="T92" fmla="*/ 3399 w 3471"/>
                <a:gd name="T93" fmla="*/ 54 h 1872"/>
                <a:gd name="T94" fmla="*/ 3397 w 3471"/>
                <a:gd name="T95" fmla="*/ 316 h 1872"/>
                <a:gd name="T96" fmla="*/ 2939 w 3471"/>
                <a:gd name="T97" fmla="*/ 775 h 1872"/>
                <a:gd name="T98" fmla="*/ 2806 w 3471"/>
                <a:gd name="T99" fmla="*/ 831 h 1872"/>
                <a:gd name="T100" fmla="*/ 2252 w 3471"/>
                <a:gd name="T101" fmla="*/ 831 h 1872"/>
                <a:gd name="T102" fmla="*/ 2119 w 3471"/>
                <a:gd name="T103" fmla="*/ 775 h 1872"/>
                <a:gd name="T104" fmla="*/ 1660 w 3471"/>
                <a:gd name="T105" fmla="*/ 316 h 1872"/>
                <a:gd name="T106" fmla="*/ 1658 w 3471"/>
                <a:gd name="T107" fmla="*/ 54 h 1872"/>
                <a:gd name="T108" fmla="*/ 1787 w 3471"/>
                <a:gd name="T109" fmla="*/ 0 h 1872"/>
                <a:gd name="T110" fmla="*/ 1920 w 3471"/>
                <a:gd name="T111" fmla="*/ 56 h 1872"/>
                <a:gd name="T112" fmla="*/ 2379 w 3471"/>
                <a:gd name="T113" fmla="*/ 515 h 1872"/>
                <a:gd name="T114" fmla="*/ 2381 w 3471"/>
                <a:gd name="T115" fmla="*/ 777 h 1872"/>
                <a:gd name="T116" fmla="*/ 2252 w 3471"/>
                <a:gd name="T117" fmla="*/ 831 h 1872"/>
                <a:gd name="T118" fmla="*/ 2252 w 3471"/>
                <a:gd name="T119" fmla="*/ 831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71" h="1872">
                  <a:moveTo>
                    <a:pt x="3270" y="1872"/>
                  </a:moveTo>
                  <a:cubicBezTo>
                    <a:pt x="3220" y="1872"/>
                    <a:pt x="3173" y="1853"/>
                    <a:pt x="3137" y="1817"/>
                  </a:cubicBezTo>
                  <a:lnTo>
                    <a:pt x="2679" y="1358"/>
                  </a:lnTo>
                  <a:cubicBezTo>
                    <a:pt x="2606" y="1285"/>
                    <a:pt x="2605" y="1167"/>
                    <a:pt x="2677" y="1096"/>
                  </a:cubicBezTo>
                  <a:cubicBezTo>
                    <a:pt x="2711" y="1061"/>
                    <a:pt x="2757" y="1042"/>
                    <a:pt x="2806" y="1042"/>
                  </a:cubicBezTo>
                  <a:cubicBezTo>
                    <a:pt x="2856" y="1042"/>
                    <a:pt x="2903" y="1062"/>
                    <a:pt x="2939" y="1098"/>
                  </a:cubicBezTo>
                  <a:lnTo>
                    <a:pt x="3397" y="1557"/>
                  </a:lnTo>
                  <a:cubicBezTo>
                    <a:pt x="3432" y="1592"/>
                    <a:pt x="3452" y="1639"/>
                    <a:pt x="3452" y="1688"/>
                  </a:cubicBezTo>
                  <a:cubicBezTo>
                    <a:pt x="3453" y="1738"/>
                    <a:pt x="3434" y="1784"/>
                    <a:pt x="3399" y="1819"/>
                  </a:cubicBezTo>
                  <a:cubicBezTo>
                    <a:pt x="3365" y="1854"/>
                    <a:pt x="3319" y="1872"/>
                    <a:pt x="3270" y="1872"/>
                  </a:cubicBezTo>
                  <a:lnTo>
                    <a:pt x="3270" y="1872"/>
                  </a:lnTo>
                  <a:close/>
                  <a:moveTo>
                    <a:pt x="1787" y="1872"/>
                  </a:moveTo>
                  <a:cubicBezTo>
                    <a:pt x="1739" y="1872"/>
                    <a:pt x="1693" y="1854"/>
                    <a:pt x="1658" y="1819"/>
                  </a:cubicBezTo>
                  <a:cubicBezTo>
                    <a:pt x="1624" y="1784"/>
                    <a:pt x="1605" y="1738"/>
                    <a:pt x="1605" y="1688"/>
                  </a:cubicBezTo>
                  <a:cubicBezTo>
                    <a:pt x="1605" y="1639"/>
                    <a:pt x="1625" y="1592"/>
                    <a:pt x="1660" y="1557"/>
                  </a:cubicBezTo>
                  <a:lnTo>
                    <a:pt x="2119" y="1098"/>
                  </a:lnTo>
                  <a:cubicBezTo>
                    <a:pt x="2154" y="1062"/>
                    <a:pt x="2202" y="1042"/>
                    <a:pt x="2252" y="1042"/>
                  </a:cubicBezTo>
                  <a:cubicBezTo>
                    <a:pt x="2300" y="1042"/>
                    <a:pt x="2346" y="1061"/>
                    <a:pt x="2381" y="1096"/>
                  </a:cubicBezTo>
                  <a:cubicBezTo>
                    <a:pt x="2452" y="1167"/>
                    <a:pt x="2451" y="1285"/>
                    <a:pt x="2379" y="1358"/>
                  </a:cubicBezTo>
                  <a:lnTo>
                    <a:pt x="1920" y="1817"/>
                  </a:lnTo>
                  <a:cubicBezTo>
                    <a:pt x="1885" y="1853"/>
                    <a:pt x="1837" y="1872"/>
                    <a:pt x="1787" y="1872"/>
                  </a:cubicBezTo>
                  <a:cubicBezTo>
                    <a:pt x="1787" y="1872"/>
                    <a:pt x="1787" y="1872"/>
                    <a:pt x="1787" y="1872"/>
                  </a:cubicBezTo>
                  <a:close/>
                  <a:moveTo>
                    <a:pt x="196" y="1857"/>
                  </a:moveTo>
                  <a:cubicBezTo>
                    <a:pt x="87" y="1857"/>
                    <a:pt x="0" y="1771"/>
                    <a:pt x="0" y="1662"/>
                  </a:cubicBezTo>
                  <a:lnTo>
                    <a:pt x="0" y="211"/>
                  </a:lnTo>
                  <a:cubicBezTo>
                    <a:pt x="0" y="102"/>
                    <a:pt x="87" y="16"/>
                    <a:pt x="196" y="16"/>
                  </a:cubicBezTo>
                  <a:lnTo>
                    <a:pt x="1219" y="16"/>
                  </a:lnTo>
                  <a:cubicBezTo>
                    <a:pt x="1313" y="16"/>
                    <a:pt x="1390" y="92"/>
                    <a:pt x="1390" y="185"/>
                  </a:cubicBezTo>
                  <a:cubicBezTo>
                    <a:pt x="1390" y="278"/>
                    <a:pt x="1313" y="354"/>
                    <a:pt x="1219" y="354"/>
                  </a:cubicBezTo>
                  <a:lnTo>
                    <a:pt x="372" y="354"/>
                  </a:lnTo>
                  <a:lnTo>
                    <a:pt x="372" y="1518"/>
                  </a:lnTo>
                  <a:lnTo>
                    <a:pt x="1232" y="1518"/>
                  </a:lnTo>
                  <a:cubicBezTo>
                    <a:pt x="1327" y="1518"/>
                    <a:pt x="1404" y="1594"/>
                    <a:pt x="1404" y="1688"/>
                  </a:cubicBezTo>
                  <a:cubicBezTo>
                    <a:pt x="1404" y="1781"/>
                    <a:pt x="1327" y="1857"/>
                    <a:pt x="1232" y="1857"/>
                  </a:cubicBezTo>
                  <a:lnTo>
                    <a:pt x="196" y="1857"/>
                  </a:lnTo>
                  <a:close/>
                  <a:moveTo>
                    <a:pt x="590" y="1099"/>
                  </a:moveTo>
                  <a:lnTo>
                    <a:pt x="590" y="761"/>
                  </a:lnTo>
                  <a:lnTo>
                    <a:pt x="1628" y="761"/>
                  </a:lnTo>
                  <a:cubicBezTo>
                    <a:pt x="1723" y="761"/>
                    <a:pt x="1800" y="837"/>
                    <a:pt x="1800" y="930"/>
                  </a:cubicBezTo>
                  <a:cubicBezTo>
                    <a:pt x="1800" y="1023"/>
                    <a:pt x="1723" y="1099"/>
                    <a:pt x="1628" y="1099"/>
                  </a:cubicBezTo>
                  <a:lnTo>
                    <a:pt x="590" y="1099"/>
                  </a:lnTo>
                  <a:close/>
                  <a:moveTo>
                    <a:pt x="2806" y="831"/>
                  </a:moveTo>
                  <a:cubicBezTo>
                    <a:pt x="2757" y="831"/>
                    <a:pt x="2711" y="812"/>
                    <a:pt x="2677" y="777"/>
                  </a:cubicBezTo>
                  <a:cubicBezTo>
                    <a:pt x="2605" y="706"/>
                    <a:pt x="2606" y="588"/>
                    <a:pt x="2679" y="515"/>
                  </a:cubicBezTo>
                  <a:lnTo>
                    <a:pt x="3137" y="56"/>
                  </a:lnTo>
                  <a:cubicBezTo>
                    <a:pt x="3173" y="20"/>
                    <a:pt x="3220" y="0"/>
                    <a:pt x="3270" y="0"/>
                  </a:cubicBezTo>
                  <a:cubicBezTo>
                    <a:pt x="3319" y="0"/>
                    <a:pt x="3365" y="19"/>
                    <a:pt x="3399" y="54"/>
                  </a:cubicBezTo>
                  <a:cubicBezTo>
                    <a:pt x="3471" y="126"/>
                    <a:pt x="3470" y="243"/>
                    <a:pt x="3397" y="316"/>
                  </a:cubicBezTo>
                  <a:lnTo>
                    <a:pt x="2939" y="775"/>
                  </a:lnTo>
                  <a:cubicBezTo>
                    <a:pt x="2903" y="811"/>
                    <a:pt x="2856" y="831"/>
                    <a:pt x="2806" y="831"/>
                  </a:cubicBezTo>
                  <a:close/>
                  <a:moveTo>
                    <a:pt x="2252" y="831"/>
                  </a:moveTo>
                  <a:cubicBezTo>
                    <a:pt x="2202" y="831"/>
                    <a:pt x="2154" y="811"/>
                    <a:pt x="2119" y="775"/>
                  </a:cubicBezTo>
                  <a:lnTo>
                    <a:pt x="1660" y="316"/>
                  </a:lnTo>
                  <a:cubicBezTo>
                    <a:pt x="1588" y="243"/>
                    <a:pt x="1587" y="126"/>
                    <a:pt x="1658" y="54"/>
                  </a:cubicBezTo>
                  <a:cubicBezTo>
                    <a:pt x="1693" y="19"/>
                    <a:pt x="1739" y="0"/>
                    <a:pt x="1787" y="0"/>
                  </a:cubicBezTo>
                  <a:cubicBezTo>
                    <a:pt x="1837" y="0"/>
                    <a:pt x="1885" y="20"/>
                    <a:pt x="1920" y="56"/>
                  </a:cubicBezTo>
                  <a:lnTo>
                    <a:pt x="2379" y="515"/>
                  </a:lnTo>
                  <a:cubicBezTo>
                    <a:pt x="2451" y="588"/>
                    <a:pt x="2452" y="706"/>
                    <a:pt x="2381" y="777"/>
                  </a:cubicBezTo>
                  <a:cubicBezTo>
                    <a:pt x="2346" y="812"/>
                    <a:pt x="2300" y="831"/>
                    <a:pt x="2252" y="831"/>
                  </a:cubicBezTo>
                  <a:lnTo>
                    <a:pt x="2252" y="83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US" dirty="0"/>
            </a:p>
          </p:txBody>
        </p:sp>
      </p:grpSp>
    </p:spTree>
    <p:extLst>
      <p:ext uri="{BB962C8B-B14F-4D97-AF65-F5344CB8AC3E}">
        <p14:creationId xmlns:p14="http://schemas.microsoft.com/office/powerpoint/2010/main" val="114405020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Divider clean | Blue">
    <p:bg bwMode="auto">
      <p:bgPr>
        <a:solidFill>
          <a:srgbClr val="20175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85DE2E4-8A5C-4DF1-A6D6-F7F3DFE43AFF}"/>
              </a:ext>
            </a:extLst>
          </p:cNvPr>
          <p:cNvGraphicFramePr>
            <a:graphicFrameLocks noChangeAspect="1"/>
          </p:cNvGraphicFramePr>
          <p:nvPr userDrawn="1">
            <p:custDataLst>
              <p:tags r:id="rId2"/>
            </p:custDataLst>
            <p:extLst>
              <p:ext uri="{D42A27DB-BD31-4B8C-83A1-F6EECF244321}">
                <p14:modId xmlns:p14="http://schemas.microsoft.com/office/powerpoint/2010/main" val="2854585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21" name="think-cell Folie" r:id="rId4" imgW="359" imgH="358" progId="TCLayout.ActiveDocument.1">
                  <p:embed/>
                </p:oleObj>
              </mc:Choice>
              <mc:Fallback>
                <p:oleObj name="think-cell Folie" r:id="rId4" imgW="359" imgH="358" progId="TCLayout.ActiveDocument.1">
                  <p:embed/>
                  <p:pic>
                    <p:nvPicPr>
                      <p:cNvPr id="5" name="Objekt 4" hidden="1">
                        <a:extLst>
                          <a:ext uri="{FF2B5EF4-FFF2-40B4-BE49-F238E27FC236}">
                            <a16:creationId xmlns:a16="http://schemas.microsoft.com/office/drawing/2014/main" id="{485DE2E4-8A5C-4DF1-A6D6-F7F3DFE43A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DFFA6D0-AB8A-4F44-9727-A1CE86F10CC6}"/>
              </a:ext>
            </a:extLst>
          </p:cNvPr>
          <p:cNvSpPr>
            <a:spLocks noGrp="1"/>
          </p:cNvSpPr>
          <p:nvPr>
            <p:ph type="title" hasCustomPrompt="1"/>
          </p:nvPr>
        </p:nvSpPr>
        <p:spPr bwMode="gray">
          <a:xfrm>
            <a:off x="1566774" y="1923421"/>
            <a:ext cx="5256213" cy="1569887"/>
          </a:xfrm>
        </p:spPr>
        <p:txBody>
          <a:bodyPr vert="horz"/>
          <a:lstStyle>
            <a:lvl1pPr rtl="0">
              <a:lnSpc>
                <a:spcPct val="100000"/>
              </a:lnSpc>
              <a:defRPr sz="3800" b="1">
                <a:solidFill>
                  <a:schemeClr val="bg1"/>
                </a:solidFill>
              </a:defRPr>
            </a:lvl1pPr>
          </a:lstStyle>
          <a:p>
            <a:r>
              <a:rPr lang="en-US" noProof="0" dirty="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rtl="0">
              <a:lnSpc>
                <a:spcPct val="100000"/>
              </a:lnSpc>
              <a:buNone/>
              <a:defRPr sz="10400" b="1">
                <a:solidFill>
                  <a:schemeClr val="tx2"/>
                </a:solidFill>
              </a:defRPr>
            </a:lvl1pPr>
          </a:lstStyle>
          <a:p>
            <a:pPr lvl="0"/>
            <a:r>
              <a:rPr lang="en-US" noProof="0" dirty="0"/>
              <a:t>0</a:t>
            </a:r>
          </a:p>
        </p:txBody>
      </p:sp>
      <p:pic>
        <p:nvPicPr>
          <p:cNvPr id="16" name="Grafik 15">
            <a:extLst>
              <a:ext uri="{FF2B5EF4-FFF2-40B4-BE49-F238E27FC236}">
                <a16:creationId xmlns:a16="http://schemas.microsoft.com/office/drawing/2014/main" id="{84EF5AA7-A7AA-4571-AB53-31BB9B697DB5}"/>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bwMode="gray">
          <a:xfrm>
            <a:off x="601200" y="6376858"/>
            <a:ext cx="576063" cy="126030"/>
          </a:xfrm>
          <a:prstGeom prst="rect">
            <a:avLst/>
          </a:prstGeom>
        </p:spPr>
      </p:pic>
      <p:sp>
        <p:nvSpPr>
          <p:cNvPr id="3" name="Date Placeholder 2">
            <a:extLst>
              <a:ext uri="{FF2B5EF4-FFF2-40B4-BE49-F238E27FC236}">
                <a16:creationId xmlns:a16="http://schemas.microsoft.com/office/drawing/2014/main" id="{391C7DEA-28CE-412D-8B12-D1E97D2E8094}"/>
              </a:ext>
            </a:extLst>
          </p:cNvPr>
          <p:cNvSpPr>
            <a:spLocks noGrp="1"/>
          </p:cNvSpPr>
          <p:nvPr>
            <p:ph type="dt" sz="half" idx="11"/>
          </p:nvPr>
        </p:nvSpPr>
        <p:spPr bwMode="gray"/>
        <p:txBody>
          <a:bodyPr/>
          <a:lstStyle>
            <a:lvl1pPr rtl="0">
              <a:defRPr>
                <a:solidFill>
                  <a:schemeClr val="bg1"/>
                </a:solidFill>
              </a:defRPr>
            </a:lvl1pPr>
          </a:lstStyle>
          <a:p>
            <a:fld id="{8D4C190C-7A36-4929-9CD3-C74764D6536C}" type="datetime1">
              <a:rPr lang="en-US"/>
              <a:t>1/16/2022</a:t>
            </a:fld>
            <a:endParaRPr lang="en-US" dirty="0"/>
          </a:p>
        </p:txBody>
      </p:sp>
      <p:sp>
        <p:nvSpPr>
          <p:cNvPr id="6" name="Slide Number Placeholder 5">
            <a:extLst>
              <a:ext uri="{FF2B5EF4-FFF2-40B4-BE49-F238E27FC236}">
                <a16:creationId xmlns:a16="http://schemas.microsoft.com/office/drawing/2014/main" id="{D2422B42-5B9A-4469-9CF2-A0FF52614933}"/>
              </a:ext>
            </a:extLst>
          </p:cNvPr>
          <p:cNvSpPr>
            <a:spLocks noGrp="1"/>
          </p:cNvSpPr>
          <p:nvPr>
            <p:ph type="sldNum" sz="quarter" idx="12"/>
          </p:nvPr>
        </p:nvSpPr>
        <p:spPr bwMode="gray"/>
        <p:txBody>
          <a:bodyPr/>
          <a:lstStyle>
            <a:lvl1pPr rtl="0">
              <a:defRPr>
                <a:solidFill>
                  <a:schemeClr val="bg1"/>
                </a:solidFill>
              </a:defRPr>
            </a:lvl1pPr>
          </a:lstStyle>
          <a:p>
            <a:fld id="{62CB3E74-FC4B-418A-B5F6-72ED80208EB2}" type="slidenum">
              <a:rPr lang="en-US"/>
              <a:pPr/>
              <a:t>‹#›</a:t>
            </a:fld>
            <a:endParaRPr lang="en-US" dirty="0"/>
          </a:p>
        </p:txBody>
      </p:sp>
      <p:grpSp>
        <p:nvGrpSpPr>
          <p:cNvPr id="8" name="Gruppieren 7">
            <a:extLst>
              <a:ext uri="{FF2B5EF4-FFF2-40B4-BE49-F238E27FC236}">
                <a16:creationId xmlns:a16="http://schemas.microsoft.com/office/drawing/2014/main" id="{BB0AC44E-61DF-4F4C-A6AE-916D7EFDFB63}"/>
              </a:ext>
            </a:extLst>
          </p:cNvPr>
          <p:cNvGrpSpPr/>
          <p:nvPr/>
        </p:nvGrpSpPr>
        <p:grpSpPr bwMode="gray">
          <a:xfrm>
            <a:off x="10804526" y="1"/>
            <a:ext cx="809625" cy="1135063"/>
            <a:chOff x="10804526" y="1"/>
            <a:chExt cx="809625" cy="1135063"/>
          </a:xfrm>
        </p:grpSpPr>
        <p:sp>
          <p:nvSpPr>
            <p:cNvPr id="9" name="Freihandform: Form 8">
              <a:extLst>
                <a:ext uri="{FF2B5EF4-FFF2-40B4-BE49-F238E27FC236}">
                  <a16:creationId xmlns:a16="http://schemas.microsoft.com/office/drawing/2014/main" id="{19492405-FF9C-4E0B-BBD3-194EC0E4AEBF}"/>
                </a:ext>
              </a:extLst>
            </p:cNvPr>
            <p:cNvSpPr/>
            <p:nvPr userDrawn="1"/>
          </p:nvSpPr>
          <p:spPr bwMode="gray">
            <a:xfrm>
              <a:off x="10804526" y="1"/>
              <a:ext cx="809625" cy="1135063"/>
            </a:xfrm>
            <a:custGeom>
              <a:avLst/>
              <a:gdLst>
                <a:gd name="connsiteX0" fmla="*/ 0 w 809625"/>
                <a:gd name="connsiteY0" fmla="*/ 0 h 1135063"/>
                <a:gd name="connsiteX1" fmla="*/ 809625 w 809625"/>
                <a:gd name="connsiteY1" fmla="*/ 0 h 1135063"/>
                <a:gd name="connsiteX2" fmla="*/ 809625 w 809625"/>
                <a:gd name="connsiteY2" fmla="*/ 730422 h 1135063"/>
                <a:gd name="connsiteX3" fmla="*/ 404813 w 809625"/>
                <a:gd name="connsiteY3" fmla="*/ 1135063 h 1135063"/>
                <a:gd name="connsiteX4" fmla="*/ 0 w 809625"/>
                <a:gd name="connsiteY4" fmla="*/ 730422 h 1135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1135063">
                  <a:moveTo>
                    <a:pt x="0" y="0"/>
                  </a:moveTo>
                  <a:lnTo>
                    <a:pt x="809625" y="0"/>
                  </a:lnTo>
                  <a:lnTo>
                    <a:pt x="809625" y="730422"/>
                  </a:lnTo>
                  <a:cubicBezTo>
                    <a:pt x="809625" y="953908"/>
                    <a:pt x="628489" y="1135063"/>
                    <a:pt x="404813" y="1135063"/>
                  </a:cubicBezTo>
                  <a:cubicBezTo>
                    <a:pt x="181308" y="1135063"/>
                    <a:pt x="0" y="953908"/>
                    <a:pt x="0" y="730422"/>
                  </a:cubicBezTo>
                  <a:close/>
                </a:path>
              </a:pathLst>
            </a:custGeom>
            <a:solidFill>
              <a:srgbClr val="00CE7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bIns="79200" rtlCol="0" anchor="ctr">
              <a:noAutofit/>
            </a:bodyPr>
            <a:lstStyle/>
            <a:p>
              <a:pPr algn="ctr" rtl="0"/>
              <a:endParaRPr lang="en-US" sz="1400" dirty="0"/>
            </a:p>
          </p:txBody>
        </p:sp>
        <p:sp>
          <p:nvSpPr>
            <p:cNvPr id="10" name="Freeform 17">
              <a:extLst>
                <a:ext uri="{FF2B5EF4-FFF2-40B4-BE49-F238E27FC236}">
                  <a16:creationId xmlns:a16="http://schemas.microsoft.com/office/drawing/2014/main" id="{3CF959FA-2C28-4210-85B5-10073516EBD9}"/>
                </a:ext>
              </a:extLst>
            </p:cNvPr>
            <p:cNvSpPr>
              <a:spLocks noEditPoints="1"/>
            </p:cNvSpPr>
            <p:nvPr userDrawn="1"/>
          </p:nvSpPr>
          <p:spPr bwMode="gray">
            <a:xfrm>
              <a:off x="10929938" y="487363"/>
              <a:ext cx="595313" cy="320675"/>
            </a:xfrm>
            <a:custGeom>
              <a:avLst/>
              <a:gdLst>
                <a:gd name="T0" fmla="*/ 3270 w 3471"/>
                <a:gd name="T1" fmla="*/ 1872 h 1872"/>
                <a:gd name="T2" fmla="*/ 3137 w 3471"/>
                <a:gd name="T3" fmla="*/ 1817 h 1872"/>
                <a:gd name="T4" fmla="*/ 2679 w 3471"/>
                <a:gd name="T5" fmla="*/ 1358 h 1872"/>
                <a:gd name="T6" fmla="*/ 2677 w 3471"/>
                <a:gd name="T7" fmla="*/ 1096 h 1872"/>
                <a:gd name="T8" fmla="*/ 2806 w 3471"/>
                <a:gd name="T9" fmla="*/ 1042 h 1872"/>
                <a:gd name="T10" fmla="*/ 2939 w 3471"/>
                <a:gd name="T11" fmla="*/ 1098 h 1872"/>
                <a:gd name="T12" fmla="*/ 3397 w 3471"/>
                <a:gd name="T13" fmla="*/ 1557 h 1872"/>
                <a:gd name="T14" fmla="*/ 3452 w 3471"/>
                <a:gd name="T15" fmla="*/ 1688 h 1872"/>
                <a:gd name="T16" fmla="*/ 3399 w 3471"/>
                <a:gd name="T17" fmla="*/ 1819 h 1872"/>
                <a:gd name="T18" fmla="*/ 3270 w 3471"/>
                <a:gd name="T19" fmla="*/ 1872 h 1872"/>
                <a:gd name="T20" fmla="*/ 3270 w 3471"/>
                <a:gd name="T21" fmla="*/ 1872 h 1872"/>
                <a:gd name="T22" fmla="*/ 1787 w 3471"/>
                <a:gd name="T23" fmla="*/ 1872 h 1872"/>
                <a:gd name="T24" fmla="*/ 1658 w 3471"/>
                <a:gd name="T25" fmla="*/ 1819 h 1872"/>
                <a:gd name="T26" fmla="*/ 1605 w 3471"/>
                <a:gd name="T27" fmla="*/ 1688 h 1872"/>
                <a:gd name="T28" fmla="*/ 1660 w 3471"/>
                <a:gd name="T29" fmla="*/ 1557 h 1872"/>
                <a:gd name="T30" fmla="*/ 2119 w 3471"/>
                <a:gd name="T31" fmla="*/ 1098 h 1872"/>
                <a:gd name="T32" fmla="*/ 2252 w 3471"/>
                <a:gd name="T33" fmla="*/ 1042 h 1872"/>
                <a:gd name="T34" fmla="*/ 2381 w 3471"/>
                <a:gd name="T35" fmla="*/ 1096 h 1872"/>
                <a:gd name="T36" fmla="*/ 2379 w 3471"/>
                <a:gd name="T37" fmla="*/ 1358 h 1872"/>
                <a:gd name="T38" fmla="*/ 1920 w 3471"/>
                <a:gd name="T39" fmla="*/ 1817 h 1872"/>
                <a:gd name="T40" fmla="*/ 1787 w 3471"/>
                <a:gd name="T41" fmla="*/ 1872 h 1872"/>
                <a:gd name="T42" fmla="*/ 1787 w 3471"/>
                <a:gd name="T43" fmla="*/ 1872 h 1872"/>
                <a:gd name="T44" fmla="*/ 196 w 3471"/>
                <a:gd name="T45" fmla="*/ 1857 h 1872"/>
                <a:gd name="T46" fmla="*/ 0 w 3471"/>
                <a:gd name="T47" fmla="*/ 1662 h 1872"/>
                <a:gd name="T48" fmla="*/ 0 w 3471"/>
                <a:gd name="T49" fmla="*/ 211 h 1872"/>
                <a:gd name="T50" fmla="*/ 196 w 3471"/>
                <a:gd name="T51" fmla="*/ 16 h 1872"/>
                <a:gd name="T52" fmla="*/ 1219 w 3471"/>
                <a:gd name="T53" fmla="*/ 16 h 1872"/>
                <a:gd name="T54" fmla="*/ 1390 w 3471"/>
                <a:gd name="T55" fmla="*/ 185 h 1872"/>
                <a:gd name="T56" fmla="*/ 1219 w 3471"/>
                <a:gd name="T57" fmla="*/ 354 h 1872"/>
                <a:gd name="T58" fmla="*/ 372 w 3471"/>
                <a:gd name="T59" fmla="*/ 354 h 1872"/>
                <a:gd name="T60" fmla="*/ 372 w 3471"/>
                <a:gd name="T61" fmla="*/ 1518 h 1872"/>
                <a:gd name="T62" fmla="*/ 1232 w 3471"/>
                <a:gd name="T63" fmla="*/ 1518 h 1872"/>
                <a:gd name="T64" fmla="*/ 1404 w 3471"/>
                <a:gd name="T65" fmla="*/ 1688 h 1872"/>
                <a:gd name="T66" fmla="*/ 1232 w 3471"/>
                <a:gd name="T67" fmla="*/ 1857 h 1872"/>
                <a:gd name="T68" fmla="*/ 196 w 3471"/>
                <a:gd name="T69" fmla="*/ 1857 h 1872"/>
                <a:gd name="T70" fmla="*/ 590 w 3471"/>
                <a:gd name="T71" fmla="*/ 1099 h 1872"/>
                <a:gd name="T72" fmla="*/ 590 w 3471"/>
                <a:gd name="T73" fmla="*/ 761 h 1872"/>
                <a:gd name="T74" fmla="*/ 1628 w 3471"/>
                <a:gd name="T75" fmla="*/ 761 h 1872"/>
                <a:gd name="T76" fmla="*/ 1800 w 3471"/>
                <a:gd name="T77" fmla="*/ 930 h 1872"/>
                <a:gd name="T78" fmla="*/ 1628 w 3471"/>
                <a:gd name="T79" fmla="*/ 1099 h 1872"/>
                <a:gd name="T80" fmla="*/ 590 w 3471"/>
                <a:gd name="T81" fmla="*/ 1099 h 1872"/>
                <a:gd name="T82" fmla="*/ 2806 w 3471"/>
                <a:gd name="T83" fmla="*/ 831 h 1872"/>
                <a:gd name="T84" fmla="*/ 2677 w 3471"/>
                <a:gd name="T85" fmla="*/ 777 h 1872"/>
                <a:gd name="T86" fmla="*/ 2679 w 3471"/>
                <a:gd name="T87" fmla="*/ 515 h 1872"/>
                <a:gd name="T88" fmla="*/ 3137 w 3471"/>
                <a:gd name="T89" fmla="*/ 56 h 1872"/>
                <a:gd name="T90" fmla="*/ 3270 w 3471"/>
                <a:gd name="T91" fmla="*/ 0 h 1872"/>
                <a:gd name="T92" fmla="*/ 3399 w 3471"/>
                <a:gd name="T93" fmla="*/ 54 h 1872"/>
                <a:gd name="T94" fmla="*/ 3397 w 3471"/>
                <a:gd name="T95" fmla="*/ 316 h 1872"/>
                <a:gd name="T96" fmla="*/ 2939 w 3471"/>
                <a:gd name="T97" fmla="*/ 775 h 1872"/>
                <a:gd name="T98" fmla="*/ 2806 w 3471"/>
                <a:gd name="T99" fmla="*/ 831 h 1872"/>
                <a:gd name="T100" fmla="*/ 2252 w 3471"/>
                <a:gd name="T101" fmla="*/ 831 h 1872"/>
                <a:gd name="T102" fmla="*/ 2119 w 3471"/>
                <a:gd name="T103" fmla="*/ 775 h 1872"/>
                <a:gd name="T104" fmla="*/ 1660 w 3471"/>
                <a:gd name="T105" fmla="*/ 316 h 1872"/>
                <a:gd name="T106" fmla="*/ 1658 w 3471"/>
                <a:gd name="T107" fmla="*/ 54 h 1872"/>
                <a:gd name="T108" fmla="*/ 1787 w 3471"/>
                <a:gd name="T109" fmla="*/ 0 h 1872"/>
                <a:gd name="T110" fmla="*/ 1920 w 3471"/>
                <a:gd name="T111" fmla="*/ 56 h 1872"/>
                <a:gd name="T112" fmla="*/ 2379 w 3471"/>
                <a:gd name="T113" fmla="*/ 515 h 1872"/>
                <a:gd name="T114" fmla="*/ 2381 w 3471"/>
                <a:gd name="T115" fmla="*/ 777 h 1872"/>
                <a:gd name="T116" fmla="*/ 2252 w 3471"/>
                <a:gd name="T117" fmla="*/ 831 h 1872"/>
                <a:gd name="T118" fmla="*/ 2252 w 3471"/>
                <a:gd name="T119" fmla="*/ 831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71" h="1872">
                  <a:moveTo>
                    <a:pt x="3270" y="1872"/>
                  </a:moveTo>
                  <a:cubicBezTo>
                    <a:pt x="3220" y="1872"/>
                    <a:pt x="3173" y="1853"/>
                    <a:pt x="3137" y="1817"/>
                  </a:cubicBezTo>
                  <a:lnTo>
                    <a:pt x="2679" y="1358"/>
                  </a:lnTo>
                  <a:cubicBezTo>
                    <a:pt x="2606" y="1285"/>
                    <a:pt x="2605" y="1167"/>
                    <a:pt x="2677" y="1096"/>
                  </a:cubicBezTo>
                  <a:cubicBezTo>
                    <a:pt x="2711" y="1061"/>
                    <a:pt x="2757" y="1042"/>
                    <a:pt x="2806" y="1042"/>
                  </a:cubicBezTo>
                  <a:cubicBezTo>
                    <a:pt x="2856" y="1042"/>
                    <a:pt x="2903" y="1062"/>
                    <a:pt x="2939" y="1098"/>
                  </a:cubicBezTo>
                  <a:lnTo>
                    <a:pt x="3397" y="1557"/>
                  </a:lnTo>
                  <a:cubicBezTo>
                    <a:pt x="3432" y="1592"/>
                    <a:pt x="3452" y="1639"/>
                    <a:pt x="3452" y="1688"/>
                  </a:cubicBezTo>
                  <a:cubicBezTo>
                    <a:pt x="3453" y="1738"/>
                    <a:pt x="3434" y="1784"/>
                    <a:pt x="3399" y="1819"/>
                  </a:cubicBezTo>
                  <a:cubicBezTo>
                    <a:pt x="3365" y="1854"/>
                    <a:pt x="3319" y="1872"/>
                    <a:pt x="3270" y="1872"/>
                  </a:cubicBezTo>
                  <a:lnTo>
                    <a:pt x="3270" y="1872"/>
                  </a:lnTo>
                  <a:close/>
                  <a:moveTo>
                    <a:pt x="1787" y="1872"/>
                  </a:moveTo>
                  <a:cubicBezTo>
                    <a:pt x="1739" y="1872"/>
                    <a:pt x="1693" y="1854"/>
                    <a:pt x="1658" y="1819"/>
                  </a:cubicBezTo>
                  <a:cubicBezTo>
                    <a:pt x="1624" y="1784"/>
                    <a:pt x="1605" y="1738"/>
                    <a:pt x="1605" y="1688"/>
                  </a:cubicBezTo>
                  <a:cubicBezTo>
                    <a:pt x="1605" y="1639"/>
                    <a:pt x="1625" y="1592"/>
                    <a:pt x="1660" y="1557"/>
                  </a:cubicBezTo>
                  <a:lnTo>
                    <a:pt x="2119" y="1098"/>
                  </a:lnTo>
                  <a:cubicBezTo>
                    <a:pt x="2154" y="1062"/>
                    <a:pt x="2202" y="1042"/>
                    <a:pt x="2252" y="1042"/>
                  </a:cubicBezTo>
                  <a:cubicBezTo>
                    <a:pt x="2300" y="1042"/>
                    <a:pt x="2346" y="1061"/>
                    <a:pt x="2381" y="1096"/>
                  </a:cubicBezTo>
                  <a:cubicBezTo>
                    <a:pt x="2452" y="1167"/>
                    <a:pt x="2451" y="1285"/>
                    <a:pt x="2379" y="1358"/>
                  </a:cubicBezTo>
                  <a:lnTo>
                    <a:pt x="1920" y="1817"/>
                  </a:lnTo>
                  <a:cubicBezTo>
                    <a:pt x="1885" y="1853"/>
                    <a:pt x="1837" y="1872"/>
                    <a:pt x="1787" y="1872"/>
                  </a:cubicBezTo>
                  <a:cubicBezTo>
                    <a:pt x="1787" y="1872"/>
                    <a:pt x="1787" y="1872"/>
                    <a:pt x="1787" y="1872"/>
                  </a:cubicBezTo>
                  <a:close/>
                  <a:moveTo>
                    <a:pt x="196" y="1857"/>
                  </a:moveTo>
                  <a:cubicBezTo>
                    <a:pt x="87" y="1857"/>
                    <a:pt x="0" y="1771"/>
                    <a:pt x="0" y="1662"/>
                  </a:cubicBezTo>
                  <a:lnTo>
                    <a:pt x="0" y="211"/>
                  </a:lnTo>
                  <a:cubicBezTo>
                    <a:pt x="0" y="102"/>
                    <a:pt x="87" y="16"/>
                    <a:pt x="196" y="16"/>
                  </a:cubicBezTo>
                  <a:lnTo>
                    <a:pt x="1219" y="16"/>
                  </a:lnTo>
                  <a:cubicBezTo>
                    <a:pt x="1313" y="16"/>
                    <a:pt x="1390" y="92"/>
                    <a:pt x="1390" y="185"/>
                  </a:cubicBezTo>
                  <a:cubicBezTo>
                    <a:pt x="1390" y="278"/>
                    <a:pt x="1313" y="354"/>
                    <a:pt x="1219" y="354"/>
                  </a:cubicBezTo>
                  <a:lnTo>
                    <a:pt x="372" y="354"/>
                  </a:lnTo>
                  <a:lnTo>
                    <a:pt x="372" y="1518"/>
                  </a:lnTo>
                  <a:lnTo>
                    <a:pt x="1232" y="1518"/>
                  </a:lnTo>
                  <a:cubicBezTo>
                    <a:pt x="1327" y="1518"/>
                    <a:pt x="1404" y="1594"/>
                    <a:pt x="1404" y="1688"/>
                  </a:cubicBezTo>
                  <a:cubicBezTo>
                    <a:pt x="1404" y="1781"/>
                    <a:pt x="1327" y="1857"/>
                    <a:pt x="1232" y="1857"/>
                  </a:cubicBezTo>
                  <a:lnTo>
                    <a:pt x="196" y="1857"/>
                  </a:lnTo>
                  <a:close/>
                  <a:moveTo>
                    <a:pt x="590" y="1099"/>
                  </a:moveTo>
                  <a:lnTo>
                    <a:pt x="590" y="761"/>
                  </a:lnTo>
                  <a:lnTo>
                    <a:pt x="1628" y="761"/>
                  </a:lnTo>
                  <a:cubicBezTo>
                    <a:pt x="1723" y="761"/>
                    <a:pt x="1800" y="837"/>
                    <a:pt x="1800" y="930"/>
                  </a:cubicBezTo>
                  <a:cubicBezTo>
                    <a:pt x="1800" y="1023"/>
                    <a:pt x="1723" y="1099"/>
                    <a:pt x="1628" y="1099"/>
                  </a:cubicBezTo>
                  <a:lnTo>
                    <a:pt x="590" y="1099"/>
                  </a:lnTo>
                  <a:close/>
                  <a:moveTo>
                    <a:pt x="2806" y="831"/>
                  </a:moveTo>
                  <a:cubicBezTo>
                    <a:pt x="2757" y="831"/>
                    <a:pt x="2711" y="812"/>
                    <a:pt x="2677" y="777"/>
                  </a:cubicBezTo>
                  <a:cubicBezTo>
                    <a:pt x="2605" y="706"/>
                    <a:pt x="2606" y="588"/>
                    <a:pt x="2679" y="515"/>
                  </a:cubicBezTo>
                  <a:lnTo>
                    <a:pt x="3137" y="56"/>
                  </a:lnTo>
                  <a:cubicBezTo>
                    <a:pt x="3173" y="20"/>
                    <a:pt x="3220" y="0"/>
                    <a:pt x="3270" y="0"/>
                  </a:cubicBezTo>
                  <a:cubicBezTo>
                    <a:pt x="3319" y="0"/>
                    <a:pt x="3365" y="19"/>
                    <a:pt x="3399" y="54"/>
                  </a:cubicBezTo>
                  <a:cubicBezTo>
                    <a:pt x="3471" y="126"/>
                    <a:pt x="3470" y="243"/>
                    <a:pt x="3397" y="316"/>
                  </a:cubicBezTo>
                  <a:lnTo>
                    <a:pt x="2939" y="775"/>
                  </a:lnTo>
                  <a:cubicBezTo>
                    <a:pt x="2903" y="811"/>
                    <a:pt x="2856" y="831"/>
                    <a:pt x="2806" y="831"/>
                  </a:cubicBezTo>
                  <a:close/>
                  <a:moveTo>
                    <a:pt x="2252" y="831"/>
                  </a:moveTo>
                  <a:cubicBezTo>
                    <a:pt x="2202" y="831"/>
                    <a:pt x="2154" y="811"/>
                    <a:pt x="2119" y="775"/>
                  </a:cubicBezTo>
                  <a:lnTo>
                    <a:pt x="1660" y="316"/>
                  </a:lnTo>
                  <a:cubicBezTo>
                    <a:pt x="1588" y="243"/>
                    <a:pt x="1587" y="126"/>
                    <a:pt x="1658" y="54"/>
                  </a:cubicBezTo>
                  <a:cubicBezTo>
                    <a:pt x="1693" y="19"/>
                    <a:pt x="1739" y="0"/>
                    <a:pt x="1787" y="0"/>
                  </a:cubicBezTo>
                  <a:cubicBezTo>
                    <a:pt x="1837" y="0"/>
                    <a:pt x="1885" y="20"/>
                    <a:pt x="1920" y="56"/>
                  </a:cubicBezTo>
                  <a:lnTo>
                    <a:pt x="2379" y="515"/>
                  </a:lnTo>
                  <a:cubicBezTo>
                    <a:pt x="2451" y="588"/>
                    <a:pt x="2452" y="706"/>
                    <a:pt x="2381" y="777"/>
                  </a:cubicBezTo>
                  <a:cubicBezTo>
                    <a:pt x="2346" y="812"/>
                    <a:pt x="2300" y="831"/>
                    <a:pt x="2252" y="831"/>
                  </a:cubicBezTo>
                  <a:lnTo>
                    <a:pt x="2252" y="831"/>
                  </a:lnTo>
                  <a:close/>
                </a:path>
              </a:pathLst>
            </a:custGeom>
            <a:solidFill>
              <a:srgbClr val="20175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US" dirty="0"/>
            </a:p>
          </p:txBody>
        </p:sp>
      </p:grpSp>
    </p:spTree>
    <p:extLst>
      <p:ext uri="{BB962C8B-B14F-4D97-AF65-F5344CB8AC3E}">
        <p14:creationId xmlns:p14="http://schemas.microsoft.com/office/powerpoint/2010/main" val="3296208028"/>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vider clean | Green">
    <p:bg bwMode="auto">
      <p:bgPr>
        <a:solidFill>
          <a:srgbClr val="00CE7D"/>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B63E18-54A2-4CB1-A92C-60481ABDC162}"/>
              </a:ext>
            </a:extLst>
          </p:cNvPr>
          <p:cNvGraphicFramePr>
            <a:graphicFrameLocks noChangeAspect="1"/>
          </p:cNvGraphicFramePr>
          <p:nvPr userDrawn="1">
            <p:custDataLst>
              <p:tags r:id="rId2"/>
            </p:custDataLst>
            <p:extLst>
              <p:ext uri="{D42A27DB-BD31-4B8C-83A1-F6EECF244321}">
                <p14:modId xmlns:p14="http://schemas.microsoft.com/office/powerpoint/2010/main" val="273283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45" name="think-cell Folie" r:id="rId4" imgW="359" imgH="358" progId="TCLayout.ActiveDocument.1">
                  <p:embed/>
                </p:oleObj>
              </mc:Choice>
              <mc:Fallback>
                <p:oleObj name="think-cell Folie" r:id="rId4" imgW="359" imgH="358" progId="TCLayout.ActiveDocument.1">
                  <p:embed/>
                  <p:pic>
                    <p:nvPicPr>
                      <p:cNvPr id="5" name="Objekt 4" hidden="1">
                        <a:extLst>
                          <a:ext uri="{FF2B5EF4-FFF2-40B4-BE49-F238E27FC236}">
                            <a16:creationId xmlns:a16="http://schemas.microsoft.com/office/drawing/2014/main" id="{AAB63E18-54A2-4CB1-A92C-60481ABDC1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DFFA6D0-AB8A-4F44-9727-A1CE86F10CC6}"/>
              </a:ext>
            </a:extLst>
          </p:cNvPr>
          <p:cNvSpPr>
            <a:spLocks noGrp="1"/>
          </p:cNvSpPr>
          <p:nvPr>
            <p:ph type="title" hasCustomPrompt="1"/>
          </p:nvPr>
        </p:nvSpPr>
        <p:spPr bwMode="gray">
          <a:xfrm>
            <a:off x="1566774" y="1923421"/>
            <a:ext cx="5256213" cy="1569887"/>
          </a:xfrm>
        </p:spPr>
        <p:txBody>
          <a:bodyPr vert="horz"/>
          <a:lstStyle>
            <a:lvl1pPr rtl="0">
              <a:lnSpc>
                <a:spcPct val="100000"/>
              </a:lnSpc>
              <a:defRPr sz="3800" b="1">
                <a:solidFill>
                  <a:schemeClr val="tx1"/>
                </a:solidFill>
              </a:defRPr>
            </a:lvl1pPr>
          </a:lstStyle>
          <a:p>
            <a:r>
              <a:rPr lang="en-US" noProof="0" dirty="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rtl="0">
              <a:lnSpc>
                <a:spcPct val="100000"/>
              </a:lnSpc>
              <a:buNone/>
              <a:defRPr sz="10400" b="1">
                <a:solidFill>
                  <a:schemeClr val="bg1"/>
                </a:solidFill>
              </a:defRPr>
            </a:lvl1pPr>
          </a:lstStyle>
          <a:p>
            <a:pPr lvl="0"/>
            <a:r>
              <a:rPr lang="en-US" noProof="0" dirty="0"/>
              <a:t>0</a:t>
            </a:r>
          </a:p>
        </p:txBody>
      </p:sp>
      <p:sp>
        <p:nvSpPr>
          <p:cNvPr id="3" name="Date Placeholder 2">
            <a:extLst>
              <a:ext uri="{FF2B5EF4-FFF2-40B4-BE49-F238E27FC236}">
                <a16:creationId xmlns:a16="http://schemas.microsoft.com/office/drawing/2014/main" id="{4A4738C0-2432-4731-9591-76C52F565581}"/>
              </a:ext>
            </a:extLst>
          </p:cNvPr>
          <p:cNvSpPr>
            <a:spLocks noGrp="1"/>
          </p:cNvSpPr>
          <p:nvPr>
            <p:ph type="dt" sz="half" idx="11"/>
          </p:nvPr>
        </p:nvSpPr>
        <p:spPr bwMode="gray"/>
        <p:txBody>
          <a:bodyPr/>
          <a:lstStyle>
            <a:lvl1pPr rtl="0">
              <a:defRPr/>
            </a:lvl1pPr>
          </a:lstStyle>
          <a:p>
            <a:fld id="{AEE3FB5D-35C1-4860-AD80-F228862F7B76}" type="datetime1">
              <a:rPr lang="en-US"/>
              <a:t>1/16/2022</a:t>
            </a:fld>
            <a:endParaRPr lang="en-US" dirty="0"/>
          </a:p>
        </p:txBody>
      </p:sp>
      <p:sp>
        <p:nvSpPr>
          <p:cNvPr id="6" name="Slide Number Placeholder 5">
            <a:extLst>
              <a:ext uri="{FF2B5EF4-FFF2-40B4-BE49-F238E27FC236}">
                <a16:creationId xmlns:a16="http://schemas.microsoft.com/office/drawing/2014/main" id="{24826A39-7D18-4E76-9378-6BD419286025}"/>
              </a:ext>
            </a:extLst>
          </p:cNvPr>
          <p:cNvSpPr>
            <a:spLocks noGrp="1"/>
          </p:cNvSpPr>
          <p:nvPr>
            <p:ph type="sldNum" sz="quarter" idx="12"/>
          </p:nvPr>
        </p:nvSpPr>
        <p:spPr bwMode="gray"/>
        <p:txBody>
          <a:bodyPr/>
          <a:lstStyle>
            <a:lvl1pPr rtl="0">
              <a:defRPr/>
            </a:lvl1pPr>
          </a:lstStyle>
          <a:p>
            <a:fld id="{62CB3E74-FC4B-418A-B5F6-72ED80208EB2}" type="slidenum">
              <a:rPr lang="en-US"/>
              <a:pPr/>
              <a:t>‹#›</a:t>
            </a:fld>
            <a:endParaRPr lang="en-US" dirty="0"/>
          </a:p>
        </p:txBody>
      </p:sp>
      <p:grpSp>
        <p:nvGrpSpPr>
          <p:cNvPr id="8" name="Gruppieren 7">
            <a:extLst>
              <a:ext uri="{FF2B5EF4-FFF2-40B4-BE49-F238E27FC236}">
                <a16:creationId xmlns:a16="http://schemas.microsoft.com/office/drawing/2014/main" id="{2E38367D-8E0C-45C2-B2A7-334AAC5B52E6}"/>
              </a:ext>
            </a:extLst>
          </p:cNvPr>
          <p:cNvGrpSpPr/>
          <p:nvPr/>
        </p:nvGrpSpPr>
        <p:grpSpPr bwMode="gray">
          <a:xfrm>
            <a:off x="10804526" y="1"/>
            <a:ext cx="809625" cy="1135063"/>
            <a:chOff x="10804526" y="1"/>
            <a:chExt cx="809625" cy="1135063"/>
          </a:xfrm>
        </p:grpSpPr>
        <p:sp>
          <p:nvSpPr>
            <p:cNvPr id="10" name="Freihandform: Form 9">
              <a:extLst>
                <a:ext uri="{FF2B5EF4-FFF2-40B4-BE49-F238E27FC236}">
                  <a16:creationId xmlns:a16="http://schemas.microsoft.com/office/drawing/2014/main" id="{8691BC3C-F5EE-4767-A7EE-18C323150DAD}"/>
                </a:ext>
              </a:extLst>
            </p:cNvPr>
            <p:cNvSpPr/>
            <p:nvPr userDrawn="1"/>
          </p:nvSpPr>
          <p:spPr bwMode="gray">
            <a:xfrm>
              <a:off x="10804526" y="1"/>
              <a:ext cx="809625" cy="1135063"/>
            </a:xfrm>
            <a:custGeom>
              <a:avLst/>
              <a:gdLst>
                <a:gd name="connsiteX0" fmla="*/ 0 w 809625"/>
                <a:gd name="connsiteY0" fmla="*/ 0 h 1135063"/>
                <a:gd name="connsiteX1" fmla="*/ 809625 w 809625"/>
                <a:gd name="connsiteY1" fmla="*/ 0 h 1135063"/>
                <a:gd name="connsiteX2" fmla="*/ 809625 w 809625"/>
                <a:gd name="connsiteY2" fmla="*/ 730422 h 1135063"/>
                <a:gd name="connsiteX3" fmla="*/ 404813 w 809625"/>
                <a:gd name="connsiteY3" fmla="*/ 1135063 h 1135063"/>
                <a:gd name="connsiteX4" fmla="*/ 0 w 809625"/>
                <a:gd name="connsiteY4" fmla="*/ 730422 h 1135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1135063">
                  <a:moveTo>
                    <a:pt x="0" y="0"/>
                  </a:moveTo>
                  <a:lnTo>
                    <a:pt x="809625" y="0"/>
                  </a:lnTo>
                  <a:lnTo>
                    <a:pt x="809625" y="730422"/>
                  </a:lnTo>
                  <a:cubicBezTo>
                    <a:pt x="809625" y="953908"/>
                    <a:pt x="628489" y="1135063"/>
                    <a:pt x="404813" y="1135063"/>
                  </a:cubicBezTo>
                  <a:cubicBezTo>
                    <a:pt x="181308" y="1135063"/>
                    <a:pt x="0" y="953908"/>
                    <a:pt x="0" y="73042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bIns="79200" rtlCol="0" anchor="ctr">
              <a:noAutofit/>
            </a:bodyPr>
            <a:lstStyle/>
            <a:p>
              <a:pPr algn="ctr" rtl="0"/>
              <a:endParaRPr lang="en-US" sz="1400" dirty="0"/>
            </a:p>
          </p:txBody>
        </p:sp>
        <p:sp>
          <p:nvSpPr>
            <p:cNvPr id="12" name="Freeform 17">
              <a:extLst>
                <a:ext uri="{FF2B5EF4-FFF2-40B4-BE49-F238E27FC236}">
                  <a16:creationId xmlns:a16="http://schemas.microsoft.com/office/drawing/2014/main" id="{70AFF25C-94FA-4467-99F6-E736DB116286}"/>
                </a:ext>
              </a:extLst>
            </p:cNvPr>
            <p:cNvSpPr>
              <a:spLocks noEditPoints="1"/>
            </p:cNvSpPr>
            <p:nvPr userDrawn="1"/>
          </p:nvSpPr>
          <p:spPr bwMode="gray">
            <a:xfrm>
              <a:off x="10929938" y="487363"/>
              <a:ext cx="595313" cy="320675"/>
            </a:xfrm>
            <a:custGeom>
              <a:avLst/>
              <a:gdLst>
                <a:gd name="T0" fmla="*/ 3270 w 3471"/>
                <a:gd name="T1" fmla="*/ 1872 h 1872"/>
                <a:gd name="T2" fmla="*/ 3137 w 3471"/>
                <a:gd name="T3" fmla="*/ 1817 h 1872"/>
                <a:gd name="T4" fmla="*/ 2679 w 3471"/>
                <a:gd name="T5" fmla="*/ 1358 h 1872"/>
                <a:gd name="T6" fmla="*/ 2677 w 3471"/>
                <a:gd name="T7" fmla="*/ 1096 h 1872"/>
                <a:gd name="T8" fmla="*/ 2806 w 3471"/>
                <a:gd name="T9" fmla="*/ 1042 h 1872"/>
                <a:gd name="T10" fmla="*/ 2939 w 3471"/>
                <a:gd name="T11" fmla="*/ 1098 h 1872"/>
                <a:gd name="T12" fmla="*/ 3397 w 3471"/>
                <a:gd name="T13" fmla="*/ 1557 h 1872"/>
                <a:gd name="T14" fmla="*/ 3452 w 3471"/>
                <a:gd name="T15" fmla="*/ 1688 h 1872"/>
                <a:gd name="T16" fmla="*/ 3399 w 3471"/>
                <a:gd name="T17" fmla="*/ 1819 h 1872"/>
                <a:gd name="T18" fmla="*/ 3270 w 3471"/>
                <a:gd name="T19" fmla="*/ 1872 h 1872"/>
                <a:gd name="T20" fmla="*/ 3270 w 3471"/>
                <a:gd name="T21" fmla="*/ 1872 h 1872"/>
                <a:gd name="T22" fmla="*/ 1787 w 3471"/>
                <a:gd name="T23" fmla="*/ 1872 h 1872"/>
                <a:gd name="T24" fmla="*/ 1658 w 3471"/>
                <a:gd name="T25" fmla="*/ 1819 h 1872"/>
                <a:gd name="T26" fmla="*/ 1605 w 3471"/>
                <a:gd name="T27" fmla="*/ 1688 h 1872"/>
                <a:gd name="T28" fmla="*/ 1660 w 3471"/>
                <a:gd name="T29" fmla="*/ 1557 h 1872"/>
                <a:gd name="T30" fmla="*/ 2119 w 3471"/>
                <a:gd name="T31" fmla="*/ 1098 h 1872"/>
                <a:gd name="T32" fmla="*/ 2252 w 3471"/>
                <a:gd name="T33" fmla="*/ 1042 h 1872"/>
                <a:gd name="T34" fmla="*/ 2381 w 3471"/>
                <a:gd name="T35" fmla="*/ 1096 h 1872"/>
                <a:gd name="T36" fmla="*/ 2379 w 3471"/>
                <a:gd name="T37" fmla="*/ 1358 h 1872"/>
                <a:gd name="T38" fmla="*/ 1920 w 3471"/>
                <a:gd name="T39" fmla="*/ 1817 h 1872"/>
                <a:gd name="T40" fmla="*/ 1787 w 3471"/>
                <a:gd name="T41" fmla="*/ 1872 h 1872"/>
                <a:gd name="T42" fmla="*/ 1787 w 3471"/>
                <a:gd name="T43" fmla="*/ 1872 h 1872"/>
                <a:gd name="T44" fmla="*/ 196 w 3471"/>
                <a:gd name="T45" fmla="*/ 1857 h 1872"/>
                <a:gd name="T46" fmla="*/ 0 w 3471"/>
                <a:gd name="T47" fmla="*/ 1662 h 1872"/>
                <a:gd name="T48" fmla="*/ 0 w 3471"/>
                <a:gd name="T49" fmla="*/ 211 h 1872"/>
                <a:gd name="T50" fmla="*/ 196 w 3471"/>
                <a:gd name="T51" fmla="*/ 16 h 1872"/>
                <a:gd name="T52" fmla="*/ 1219 w 3471"/>
                <a:gd name="T53" fmla="*/ 16 h 1872"/>
                <a:gd name="T54" fmla="*/ 1390 w 3471"/>
                <a:gd name="T55" fmla="*/ 185 h 1872"/>
                <a:gd name="T56" fmla="*/ 1219 w 3471"/>
                <a:gd name="T57" fmla="*/ 354 h 1872"/>
                <a:gd name="T58" fmla="*/ 372 w 3471"/>
                <a:gd name="T59" fmla="*/ 354 h 1872"/>
                <a:gd name="T60" fmla="*/ 372 w 3471"/>
                <a:gd name="T61" fmla="*/ 1518 h 1872"/>
                <a:gd name="T62" fmla="*/ 1232 w 3471"/>
                <a:gd name="T63" fmla="*/ 1518 h 1872"/>
                <a:gd name="T64" fmla="*/ 1404 w 3471"/>
                <a:gd name="T65" fmla="*/ 1688 h 1872"/>
                <a:gd name="T66" fmla="*/ 1232 w 3471"/>
                <a:gd name="T67" fmla="*/ 1857 h 1872"/>
                <a:gd name="T68" fmla="*/ 196 w 3471"/>
                <a:gd name="T69" fmla="*/ 1857 h 1872"/>
                <a:gd name="T70" fmla="*/ 590 w 3471"/>
                <a:gd name="T71" fmla="*/ 1099 h 1872"/>
                <a:gd name="T72" fmla="*/ 590 w 3471"/>
                <a:gd name="T73" fmla="*/ 761 h 1872"/>
                <a:gd name="T74" fmla="*/ 1628 w 3471"/>
                <a:gd name="T75" fmla="*/ 761 h 1872"/>
                <a:gd name="T76" fmla="*/ 1800 w 3471"/>
                <a:gd name="T77" fmla="*/ 930 h 1872"/>
                <a:gd name="T78" fmla="*/ 1628 w 3471"/>
                <a:gd name="T79" fmla="*/ 1099 h 1872"/>
                <a:gd name="T80" fmla="*/ 590 w 3471"/>
                <a:gd name="T81" fmla="*/ 1099 h 1872"/>
                <a:gd name="T82" fmla="*/ 2806 w 3471"/>
                <a:gd name="T83" fmla="*/ 831 h 1872"/>
                <a:gd name="T84" fmla="*/ 2677 w 3471"/>
                <a:gd name="T85" fmla="*/ 777 h 1872"/>
                <a:gd name="T86" fmla="*/ 2679 w 3471"/>
                <a:gd name="T87" fmla="*/ 515 h 1872"/>
                <a:gd name="T88" fmla="*/ 3137 w 3471"/>
                <a:gd name="T89" fmla="*/ 56 h 1872"/>
                <a:gd name="T90" fmla="*/ 3270 w 3471"/>
                <a:gd name="T91" fmla="*/ 0 h 1872"/>
                <a:gd name="T92" fmla="*/ 3399 w 3471"/>
                <a:gd name="T93" fmla="*/ 54 h 1872"/>
                <a:gd name="T94" fmla="*/ 3397 w 3471"/>
                <a:gd name="T95" fmla="*/ 316 h 1872"/>
                <a:gd name="T96" fmla="*/ 2939 w 3471"/>
                <a:gd name="T97" fmla="*/ 775 h 1872"/>
                <a:gd name="T98" fmla="*/ 2806 w 3471"/>
                <a:gd name="T99" fmla="*/ 831 h 1872"/>
                <a:gd name="T100" fmla="*/ 2252 w 3471"/>
                <a:gd name="T101" fmla="*/ 831 h 1872"/>
                <a:gd name="T102" fmla="*/ 2119 w 3471"/>
                <a:gd name="T103" fmla="*/ 775 h 1872"/>
                <a:gd name="T104" fmla="*/ 1660 w 3471"/>
                <a:gd name="T105" fmla="*/ 316 h 1872"/>
                <a:gd name="T106" fmla="*/ 1658 w 3471"/>
                <a:gd name="T107" fmla="*/ 54 h 1872"/>
                <a:gd name="T108" fmla="*/ 1787 w 3471"/>
                <a:gd name="T109" fmla="*/ 0 h 1872"/>
                <a:gd name="T110" fmla="*/ 1920 w 3471"/>
                <a:gd name="T111" fmla="*/ 56 h 1872"/>
                <a:gd name="T112" fmla="*/ 2379 w 3471"/>
                <a:gd name="T113" fmla="*/ 515 h 1872"/>
                <a:gd name="T114" fmla="*/ 2381 w 3471"/>
                <a:gd name="T115" fmla="*/ 777 h 1872"/>
                <a:gd name="T116" fmla="*/ 2252 w 3471"/>
                <a:gd name="T117" fmla="*/ 831 h 1872"/>
                <a:gd name="T118" fmla="*/ 2252 w 3471"/>
                <a:gd name="T119" fmla="*/ 831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71" h="1872">
                  <a:moveTo>
                    <a:pt x="3270" y="1872"/>
                  </a:moveTo>
                  <a:cubicBezTo>
                    <a:pt x="3220" y="1872"/>
                    <a:pt x="3173" y="1853"/>
                    <a:pt x="3137" y="1817"/>
                  </a:cubicBezTo>
                  <a:lnTo>
                    <a:pt x="2679" y="1358"/>
                  </a:lnTo>
                  <a:cubicBezTo>
                    <a:pt x="2606" y="1285"/>
                    <a:pt x="2605" y="1167"/>
                    <a:pt x="2677" y="1096"/>
                  </a:cubicBezTo>
                  <a:cubicBezTo>
                    <a:pt x="2711" y="1061"/>
                    <a:pt x="2757" y="1042"/>
                    <a:pt x="2806" y="1042"/>
                  </a:cubicBezTo>
                  <a:cubicBezTo>
                    <a:pt x="2856" y="1042"/>
                    <a:pt x="2903" y="1062"/>
                    <a:pt x="2939" y="1098"/>
                  </a:cubicBezTo>
                  <a:lnTo>
                    <a:pt x="3397" y="1557"/>
                  </a:lnTo>
                  <a:cubicBezTo>
                    <a:pt x="3432" y="1592"/>
                    <a:pt x="3452" y="1639"/>
                    <a:pt x="3452" y="1688"/>
                  </a:cubicBezTo>
                  <a:cubicBezTo>
                    <a:pt x="3453" y="1738"/>
                    <a:pt x="3434" y="1784"/>
                    <a:pt x="3399" y="1819"/>
                  </a:cubicBezTo>
                  <a:cubicBezTo>
                    <a:pt x="3365" y="1854"/>
                    <a:pt x="3319" y="1872"/>
                    <a:pt x="3270" y="1872"/>
                  </a:cubicBezTo>
                  <a:lnTo>
                    <a:pt x="3270" y="1872"/>
                  </a:lnTo>
                  <a:close/>
                  <a:moveTo>
                    <a:pt x="1787" y="1872"/>
                  </a:moveTo>
                  <a:cubicBezTo>
                    <a:pt x="1739" y="1872"/>
                    <a:pt x="1693" y="1854"/>
                    <a:pt x="1658" y="1819"/>
                  </a:cubicBezTo>
                  <a:cubicBezTo>
                    <a:pt x="1624" y="1784"/>
                    <a:pt x="1605" y="1738"/>
                    <a:pt x="1605" y="1688"/>
                  </a:cubicBezTo>
                  <a:cubicBezTo>
                    <a:pt x="1605" y="1639"/>
                    <a:pt x="1625" y="1592"/>
                    <a:pt x="1660" y="1557"/>
                  </a:cubicBezTo>
                  <a:lnTo>
                    <a:pt x="2119" y="1098"/>
                  </a:lnTo>
                  <a:cubicBezTo>
                    <a:pt x="2154" y="1062"/>
                    <a:pt x="2202" y="1042"/>
                    <a:pt x="2252" y="1042"/>
                  </a:cubicBezTo>
                  <a:cubicBezTo>
                    <a:pt x="2300" y="1042"/>
                    <a:pt x="2346" y="1061"/>
                    <a:pt x="2381" y="1096"/>
                  </a:cubicBezTo>
                  <a:cubicBezTo>
                    <a:pt x="2452" y="1167"/>
                    <a:pt x="2451" y="1285"/>
                    <a:pt x="2379" y="1358"/>
                  </a:cubicBezTo>
                  <a:lnTo>
                    <a:pt x="1920" y="1817"/>
                  </a:lnTo>
                  <a:cubicBezTo>
                    <a:pt x="1885" y="1853"/>
                    <a:pt x="1837" y="1872"/>
                    <a:pt x="1787" y="1872"/>
                  </a:cubicBezTo>
                  <a:cubicBezTo>
                    <a:pt x="1787" y="1872"/>
                    <a:pt x="1787" y="1872"/>
                    <a:pt x="1787" y="1872"/>
                  </a:cubicBezTo>
                  <a:close/>
                  <a:moveTo>
                    <a:pt x="196" y="1857"/>
                  </a:moveTo>
                  <a:cubicBezTo>
                    <a:pt x="87" y="1857"/>
                    <a:pt x="0" y="1771"/>
                    <a:pt x="0" y="1662"/>
                  </a:cubicBezTo>
                  <a:lnTo>
                    <a:pt x="0" y="211"/>
                  </a:lnTo>
                  <a:cubicBezTo>
                    <a:pt x="0" y="102"/>
                    <a:pt x="87" y="16"/>
                    <a:pt x="196" y="16"/>
                  </a:cubicBezTo>
                  <a:lnTo>
                    <a:pt x="1219" y="16"/>
                  </a:lnTo>
                  <a:cubicBezTo>
                    <a:pt x="1313" y="16"/>
                    <a:pt x="1390" y="92"/>
                    <a:pt x="1390" y="185"/>
                  </a:cubicBezTo>
                  <a:cubicBezTo>
                    <a:pt x="1390" y="278"/>
                    <a:pt x="1313" y="354"/>
                    <a:pt x="1219" y="354"/>
                  </a:cubicBezTo>
                  <a:lnTo>
                    <a:pt x="372" y="354"/>
                  </a:lnTo>
                  <a:lnTo>
                    <a:pt x="372" y="1518"/>
                  </a:lnTo>
                  <a:lnTo>
                    <a:pt x="1232" y="1518"/>
                  </a:lnTo>
                  <a:cubicBezTo>
                    <a:pt x="1327" y="1518"/>
                    <a:pt x="1404" y="1594"/>
                    <a:pt x="1404" y="1688"/>
                  </a:cubicBezTo>
                  <a:cubicBezTo>
                    <a:pt x="1404" y="1781"/>
                    <a:pt x="1327" y="1857"/>
                    <a:pt x="1232" y="1857"/>
                  </a:cubicBezTo>
                  <a:lnTo>
                    <a:pt x="196" y="1857"/>
                  </a:lnTo>
                  <a:close/>
                  <a:moveTo>
                    <a:pt x="590" y="1099"/>
                  </a:moveTo>
                  <a:lnTo>
                    <a:pt x="590" y="761"/>
                  </a:lnTo>
                  <a:lnTo>
                    <a:pt x="1628" y="761"/>
                  </a:lnTo>
                  <a:cubicBezTo>
                    <a:pt x="1723" y="761"/>
                    <a:pt x="1800" y="837"/>
                    <a:pt x="1800" y="930"/>
                  </a:cubicBezTo>
                  <a:cubicBezTo>
                    <a:pt x="1800" y="1023"/>
                    <a:pt x="1723" y="1099"/>
                    <a:pt x="1628" y="1099"/>
                  </a:cubicBezTo>
                  <a:lnTo>
                    <a:pt x="590" y="1099"/>
                  </a:lnTo>
                  <a:close/>
                  <a:moveTo>
                    <a:pt x="2806" y="831"/>
                  </a:moveTo>
                  <a:cubicBezTo>
                    <a:pt x="2757" y="831"/>
                    <a:pt x="2711" y="812"/>
                    <a:pt x="2677" y="777"/>
                  </a:cubicBezTo>
                  <a:cubicBezTo>
                    <a:pt x="2605" y="706"/>
                    <a:pt x="2606" y="588"/>
                    <a:pt x="2679" y="515"/>
                  </a:cubicBezTo>
                  <a:lnTo>
                    <a:pt x="3137" y="56"/>
                  </a:lnTo>
                  <a:cubicBezTo>
                    <a:pt x="3173" y="20"/>
                    <a:pt x="3220" y="0"/>
                    <a:pt x="3270" y="0"/>
                  </a:cubicBezTo>
                  <a:cubicBezTo>
                    <a:pt x="3319" y="0"/>
                    <a:pt x="3365" y="19"/>
                    <a:pt x="3399" y="54"/>
                  </a:cubicBezTo>
                  <a:cubicBezTo>
                    <a:pt x="3471" y="126"/>
                    <a:pt x="3470" y="243"/>
                    <a:pt x="3397" y="316"/>
                  </a:cubicBezTo>
                  <a:lnTo>
                    <a:pt x="2939" y="775"/>
                  </a:lnTo>
                  <a:cubicBezTo>
                    <a:pt x="2903" y="811"/>
                    <a:pt x="2856" y="831"/>
                    <a:pt x="2806" y="831"/>
                  </a:cubicBezTo>
                  <a:close/>
                  <a:moveTo>
                    <a:pt x="2252" y="831"/>
                  </a:moveTo>
                  <a:cubicBezTo>
                    <a:pt x="2202" y="831"/>
                    <a:pt x="2154" y="811"/>
                    <a:pt x="2119" y="775"/>
                  </a:cubicBezTo>
                  <a:lnTo>
                    <a:pt x="1660" y="316"/>
                  </a:lnTo>
                  <a:cubicBezTo>
                    <a:pt x="1588" y="243"/>
                    <a:pt x="1587" y="126"/>
                    <a:pt x="1658" y="54"/>
                  </a:cubicBezTo>
                  <a:cubicBezTo>
                    <a:pt x="1693" y="19"/>
                    <a:pt x="1739" y="0"/>
                    <a:pt x="1787" y="0"/>
                  </a:cubicBezTo>
                  <a:cubicBezTo>
                    <a:pt x="1837" y="0"/>
                    <a:pt x="1885" y="20"/>
                    <a:pt x="1920" y="56"/>
                  </a:cubicBezTo>
                  <a:lnTo>
                    <a:pt x="2379" y="515"/>
                  </a:lnTo>
                  <a:cubicBezTo>
                    <a:pt x="2451" y="588"/>
                    <a:pt x="2452" y="706"/>
                    <a:pt x="2381" y="777"/>
                  </a:cubicBezTo>
                  <a:cubicBezTo>
                    <a:pt x="2346" y="812"/>
                    <a:pt x="2300" y="831"/>
                    <a:pt x="2252" y="831"/>
                  </a:cubicBezTo>
                  <a:lnTo>
                    <a:pt x="2252" y="831"/>
                  </a:lnTo>
                  <a:close/>
                </a:path>
              </a:pathLst>
            </a:custGeom>
            <a:solidFill>
              <a:srgbClr val="20175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US" dirty="0"/>
            </a:p>
          </p:txBody>
        </p:sp>
      </p:grpSp>
    </p:spTree>
    <p:extLst>
      <p:ext uri="{BB962C8B-B14F-4D97-AF65-F5344CB8AC3E}">
        <p14:creationId xmlns:p14="http://schemas.microsoft.com/office/powerpoint/2010/main" val="316750358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clean | White">
    <p:bg>
      <p:bgPr>
        <a:solidFill>
          <a:srgbClr val="F3F3F3"/>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4E936EE-EAF0-40DE-80FC-5532D1A45690}"/>
              </a:ext>
            </a:extLst>
          </p:cNvPr>
          <p:cNvGraphicFramePr>
            <a:graphicFrameLocks noChangeAspect="1"/>
          </p:cNvGraphicFramePr>
          <p:nvPr userDrawn="1">
            <p:custDataLst>
              <p:tags r:id="rId2"/>
            </p:custDataLst>
            <p:extLst>
              <p:ext uri="{D42A27DB-BD31-4B8C-83A1-F6EECF244321}">
                <p14:modId xmlns:p14="http://schemas.microsoft.com/office/powerpoint/2010/main" val="3800782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69" name="think-cell Folie" r:id="rId4" imgW="359" imgH="358" progId="TCLayout.ActiveDocument.1">
                  <p:embed/>
                </p:oleObj>
              </mc:Choice>
              <mc:Fallback>
                <p:oleObj name="think-cell Folie" r:id="rId4" imgW="359" imgH="358" progId="TCLayout.ActiveDocument.1">
                  <p:embed/>
                  <p:pic>
                    <p:nvPicPr>
                      <p:cNvPr id="5" name="Objekt 4" hidden="1">
                        <a:extLst>
                          <a:ext uri="{FF2B5EF4-FFF2-40B4-BE49-F238E27FC236}">
                            <a16:creationId xmlns:a16="http://schemas.microsoft.com/office/drawing/2014/main" id="{74E936EE-EAF0-40DE-80FC-5532D1A456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DFFA6D0-AB8A-4F44-9727-A1CE86F10CC6}"/>
              </a:ext>
            </a:extLst>
          </p:cNvPr>
          <p:cNvSpPr>
            <a:spLocks noGrp="1"/>
          </p:cNvSpPr>
          <p:nvPr>
            <p:ph type="title" hasCustomPrompt="1"/>
          </p:nvPr>
        </p:nvSpPr>
        <p:spPr bwMode="gray">
          <a:xfrm>
            <a:off x="1566774" y="1923421"/>
            <a:ext cx="5256213" cy="1569887"/>
          </a:xfrm>
        </p:spPr>
        <p:txBody>
          <a:bodyPr vert="horz"/>
          <a:lstStyle>
            <a:lvl1pPr rtl="0">
              <a:lnSpc>
                <a:spcPct val="100000"/>
              </a:lnSpc>
              <a:defRPr sz="3800" b="1">
                <a:solidFill>
                  <a:schemeClr val="tx1"/>
                </a:solidFill>
              </a:defRPr>
            </a:lvl1pPr>
          </a:lstStyle>
          <a:p>
            <a:r>
              <a:rPr lang="en-US" noProof="0" dirty="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rtl="0">
              <a:lnSpc>
                <a:spcPct val="100000"/>
              </a:lnSpc>
              <a:buNone/>
              <a:defRPr sz="10400" b="1">
                <a:solidFill>
                  <a:schemeClr val="tx2"/>
                </a:solidFill>
              </a:defRPr>
            </a:lvl1pPr>
          </a:lstStyle>
          <a:p>
            <a:pPr lvl="0"/>
            <a:r>
              <a:rPr lang="en-US" noProof="0" dirty="0"/>
              <a:t>0</a:t>
            </a:r>
          </a:p>
        </p:txBody>
      </p:sp>
      <p:sp>
        <p:nvSpPr>
          <p:cNvPr id="3" name="Date Placeholder 2">
            <a:extLst>
              <a:ext uri="{FF2B5EF4-FFF2-40B4-BE49-F238E27FC236}">
                <a16:creationId xmlns:a16="http://schemas.microsoft.com/office/drawing/2014/main" id="{1876BF7B-94F9-4284-8960-1B3CF28A1218}"/>
              </a:ext>
            </a:extLst>
          </p:cNvPr>
          <p:cNvSpPr>
            <a:spLocks noGrp="1"/>
          </p:cNvSpPr>
          <p:nvPr>
            <p:ph type="dt" sz="half" idx="11"/>
          </p:nvPr>
        </p:nvSpPr>
        <p:spPr bwMode="gray"/>
        <p:txBody>
          <a:bodyPr/>
          <a:lstStyle>
            <a:lvl1pPr rtl="0">
              <a:defRPr/>
            </a:lvl1pPr>
          </a:lstStyle>
          <a:p>
            <a:fld id="{C66694C4-3770-434F-A0C4-DFE5D752835A}" type="datetime1">
              <a:rPr lang="en-US"/>
              <a:t>1/16/2022</a:t>
            </a:fld>
            <a:endParaRPr lang="en-US" dirty="0"/>
          </a:p>
        </p:txBody>
      </p:sp>
      <p:sp>
        <p:nvSpPr>
          <p:cNvPr id="6" name="Slide Number Placeholder 5">
            <a:extLst>
              <a:ext uri="{FF2B5EF4-FFF2-40B4-BE49-F238E27FC236}">
                <a16:creationId xmlns:a16="http://schemas.microsoft.com/office/drawing/2014/main" id="{871D2B69-DA6B-4F90-8CDA-828B06517B0C}"/>
              </a:ext>
            </a:extLst>
          </p:cNvPr>
          <p:cNvSpPr>
            <a:spLocks noGrp="1"/>
          </p:cNvSpPr>
          <p:nvPr>
            <p:ph type="sldNum" sz="quarter" idx="12"/>
          </p:nvPr>
        </p:nvSpPr>
        <p:spPr bwMode="gray"/>
        <p:txBody>
          <a:bodyPr/>
          <a:lstStyle>
            <a:lvl1pPr rtl="0">
              <a:defRPr/>
            </a:lvl1pPr>
          </a:lstStyle>
          <a:p>
            <a:fld id="{62CB3E74-FC4B-418A-B5F6-72ED80208EB2}" type="slidenum">
              <a:rPr lang="en-US"/>
              <a:pPr/>
              <a:t>‹#›</a:t>
            </a:fld>
            <a:endParaRPr lang="en-US" dirty="0"/>
          </a:p>
        </p:txBody>
      </p:sp>
      <p:grpSp>
        <p:nvGrpSpPr>
          <p:cNvPr id="8" name="Gruppieren 7">
            <a:extLst>
              <a:ext uri="{FF2B5EF4-FFF2-40B4-BE49-F238E27FC236}">
                <a16:creationId xmlns:a16="http://schemas.microsoft.com/office/drawing/2014/main" id="{848C2A02-5F57-41DA-A648-FB068FDC4F38}"/>
              </a:ext>
            </a:extLst>
          </p:cNvPr>
          <p:cNvGrpSpPr/>
          <p:nvPr/>
        </p:nvGrpSpPr>
        <p:grpSpPr bwMode="gray">
          <a:xfrm>
            <a:off x="10804526" y="1"/>
            <a:ext cx="809625" cy="1135063"/>
            <a:chOff x="10804526" y="1"/>
            <a:chExt cx="809625" cy="1135063"/>
          </a:xfrm>
        </p:grpSpPr>
        <p:sp>
          <p:nvSpPr>
            <p:cNvPr id="10" name="Freihandform: Form 9">
              <a:extLst>
                <a:ext uri="{FF2B5EF4-FFF2-40B4-BE49-F238E27FC236}">
                  <a16:creationId xmlns:a16="http://schemas.microsoft.com/office/drawing/2014/main" id="{06CDB9D9-DC3B-4A29-AB10-A32B7B7137DF}"/>
                </a:ext>
              </a:extLst>
            </p:cNvPr>
            <p:cNvSpPr/>
            <p:nvPr userDrawn="1"/>
          </p:nvSpPr>
          <p:spPr bwMode="gray">
            <a:xfrm>
              <a:off x="10804526" y="1"/>
              <a:ext cx="809625" cy="1135063"/>
            </a:xfrm>
            <a:custGeom>
              <a:avLst/>
              <a:gdLst>
                <a:gd name="connsiteX0" fmla="*/ 0 w 809625"/>
                <a:gd name="connsiteY0" fmla="*/ 0 h 1135063"/>
                <a:gd name="connsiteX1" fmla="*/ 809625 w 809625"/>
                <a:gd name="connsiteY1" fmla="*/ 0 h 1135063"/>
                <a:gd name="connsiteX2" fmla="*/ 809625 w 809625"/>
                <a:gd name="connsiteY2" fmla="*/ 730422 h 1135063"/>
                <a:gd name="connsiteX3" fmla="*/ 404813 w 809625"/>
                <a:gd name="connsiteY3" fmla="*/ 1135063 h 1135063"/>
                <a:gd name="connsiteX4" fmla="*/ 0 w 809625"/>
                <a:gd name="connsiteY4" fmla="*/ 730422 h 1135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1135063">
                  <a:moveTo>
                    <a:pt x="0" y="0"/>
                  </a:moveTo>
                  <a:lnTo>
                    <a:pt x="809625" y="0"/>
                  </a:lnTo>
                  <a:lnTo>
                    <a:pt x="809625" y="730422"/>
                  </a:lnTo>
                  <a:cubicBezTo>
                    <a:pt x="809625" y="953908"/>
                    <a:pt x="628489" y="1135063"/>
                    <a:pt x="404813" y="1135063"/>
                  </a:cubicBezTo>
                  <a:cubicBezTo>
                    <a:pt x="181308" y="1135063"/>
                    <a:pt x="0" y="953908"/>
                    <a:pt x="0" y="730422"/>
                  </a:cubicBezTo>
                  <a:close/>
                </a:path>
              </a:pathLst>
            </a:custGeom>
            <a:solidFill>
              <a:srgbClr val="20175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bIns="79200" rtlCol="0" anchor="ctr">
              <a:noAutofit/>
            </a:bodyPr>
            <a:lstStyle/>
            <a:p>
              <a:pPr algn="ctr" rtl="0"/>
              <a:endParaRPr lang="en-US" sz="1400" dirty="0"/>
            </a:p>
          </p:txBody>
        </p:sp>
        <p:sp>
          <p:nvSpPr>
            <p:cNvPr id="13" name="Freeform 17">
              <a:extLst>
                <a:ext uri="{FF2B5EF4-FFF2-40B4-BE49-F238E27FC236}">
                  <a16:creationId xmlns:a16="http://schemas.microsoft.com/office/drawing/2014/main" id="{11B742BC-BF40-439B-9237-5CE7FADBB71B}"/>
                </a:ext>
              </a:extLst>
            </p:cNvPr>
            <p:cNvSpPr>
              <a:spLocks noEditPoints="1"/>
            </p:cNvSpPr>
            <p:nvPr userDrawn="1"/>
          </p:nvSpPr>
          <p:spPr bwMode="gray">
            <a:xfrm>
              <a:off x="10929938" y="487363"/>
              <a:ext cx="595313" cy="320675"/>
            </a:xfrm>
            <a:custGeom>
              <a:avLst/>
              <a:gdLst>
                <a:gd name="T0" fmla="*/ 3270 w 3471"/>
                <a:gd name="T1" fmla="*/ 1872 h 1872"/>
                <a:gd name="T2" fmla="*/ 3137 w 3471"/>
                <a:gd name="T3" fmla="*/ 1817 h 1872"/>
                <a:gd name="T4" fmla="*/ 2679 w 3471"/>
                <a:gd name="T5" fmla="*/ 1358 h 1872"/>
                <a:gd name="T6" fmla="*/ 2677 w 3471"/>
                <a:gd name="T7" fmla="*/ 1096 h 1872"/>
                <a:gd name="T8" fmla="*/ 2806 w 3471"/>
                <a:gd name="T9" fmla="*/ 1042 h 1872"/>
                <a:gd name="T10" fmla="*/ 2939 w 3471"/>
                <a:gd name="T11" fmla="*/ 1098 h 1872"/>
                <a:gd name="T12" fmla="*/ 3397 w 3471"/>
                <a:gd name="T13" fmla="*/ 1557 h 1872"/>
                <a:gd name="T14" fmla="*/ 3452 w 3471"/>
                <a:gd name="T15" fmla="*/ 1688 h 1872"/>
                <a:gd name="T16" fmla="*/ 3399 w 3471"/>
                <a:gd name="T17" fmla="*/ 1819 h 1872"/>
                <a:gd name="T18" fmla="*/ 3270 w 3471"/>
                <a:gd name="T19" fmla="*/ 1872 h 1872"/>
                <a:gd name="T20" fmla="*/ 3270 w 3471"/>
                <a:gd name="T21" fmla="*/ 1872 h 1872"/>
                <a:gd name="T22" fmla="*/ 1787 w 3471"/>
                <a:gd name="T23" fmla="*/ 1872 h 1872"/>
                <a:gd name="T24" fmla="*/ 1658 w 3471"/>
                <a:gd name="T25" fmla="*/ 1819 h 1872"/>
                <a:gd name="T26" fmla="*/ 1605 w 3471"/>
                <a:gd name="T27" fmla="*/ 1688 h 1872"/>
                <a:gd name="T28" fmla="*/ 1660 w 3471"/>
                <a:gd name="T29" fmla="*/ 1557 h 1872"/>
                <a:gd name="T30" fmla="*/ 2119 w 3471"/>
                <a:gd name="T31" fmla="*/ 1098 h 1872"/>
                <a:gd name="T32" fmla="*/ 2252 w 3471"/>
                <a:gd name="T33" fmla="*/ 1042 h 1872"/>
                <a:gd name="T34" fmla="*/ 2381 w 3471"/>
                <a:gd name="T35" fmla="*/ 1096 h 1872"/>
                <a:gd name="T36" fmla="*/ 2379 w 3471"/>
                <a:gd name="T37" fmla="*/ 1358 h 1872"/>
                <a:gd name="T38" fmla="*/ 1920 w 3471"/>
                <a:gd name="T39" fmla="*/ 1817 h 1872"/>
                <a:gd name="T40" fmla="*/ 1787 w 3471"/>
                <a:gd name="T41" fmla="*/ 1872 h 1872"/>
                <a:gd name="T42" fmla="*/ 1787 w 3471"/>
                <a:gd name="T43" fmla="*/ 1872 h 1872"/>
                <a:gd name="T44" fmla="*/ 196 w 3471"/>
                <a:gd name="T45" fmla="*/ 1857 h 1872"/>
                <a:gd name="T46" fmla="*/ 0 w 3471"/>
                <a:gd name="T47" fmla="*/ 1662 h 1872"/>
                <a:gd name="T48" fmla="*/ 0 w 3471"/>
                <a:gd name="T49" fmla="*/ 211 h 1872"/>
                <a:gd name="T50" fmla="*/ 196 w 3471"/>
                <a:gd name="T51" fmla="*/ 16 h 1872"/>
                <a:gd name="T52" fmla="*/ 1219 w 3471"/>
                <a:gd name="T53" fmla="*/ 16 h 1872"/>
                <a:gd name="T54" fmla="*/ 1390 w 3471"/>
                <a:gd name="T55" fmla="*/ 185 h 1872"/>
                <a:gd name="T56" fmla="*/ 1219 w 3471"/>
                <a:gd name="T57" fmla="*/ 354 h 1872"/>
                <a:gd name="T58" fmla="*/ 372 w 3471"/>
                <a:gd name="T59" fmla="*/ 354 h 1872"/>
                <a:gd name="T60" fmla="*/ 372 w 3471"/>
                <a:gd name="T61" fmla="*/ 1518 h 1872"/>
                <a:gd name="T62" fmla="*/ 1232 w 3471"/>
                <a:gd name="T63" fmla="*/ 1518 h 1872"/>
                <a:gd name="T64" fmla="*/ 1404 w 3471"/>
                <a:gd name="T65" fmla="*/ 1688 h 1872"/>
                <a:gd name="T66" fmla="*/ 1232 w 3471"/>
                <a:gd name="T67" fmla="*/ 1857 h 1872"/>
                <a:gd name="T68" fmla="*/ 196 w 3471"/>
                <a:gd name="T69" fmla="*/ 1857 h 1872"/>
                <a:gd name="T70" fmla="*/ 590 w 3471"/>
                <a:gd name="T71" fmla="*/ 1099 h 1872"/>
                <a:gd name="T72" fmla="*/ 590 w 3471"/>
                <a:gd name="T73" fmla="*/ 761 h 1872"/>
                <a:gd name="T74" fmla="*/ 1628 w 3471"/>
                <a:gd name="T75" fmla="*/ 761 h 1872"/>
                <a:gd name="T76" fmla="*/ 1800 w 3471"/>
                <a:gd name="T77" fmla="*/ 930 h 1872"/>
                <a:gd name="T78" fmla="*/ 1628 w 3471"/>
                <a:gd name="T79" fmla="*/ 1099 h 1872"/>
                <a:gd name="T80" fmla="*/ 590 w 3471"/>
                <a:gd name="T81" fmla="*/ 1099 h 1872"/>
                <a:gd name="T82" fmla="*/ 2806 w 3471"/>
                <a:gd name="T83" fmla="*/ 831 h 1872"/>
                <a:gd name="T84" fmla="*/ 2677 w 3471"/>
                <a:gd name="T85" fmla="*/ 777 h 1872"/>
                <a:gd name="T86" fmla="*/ 2679 w 3471"/>
                <a:gd name="T87" fmla="*/ 515 h 1872"/>
                <a:gd name="T88" fmla="*/ 3137 w 3471"/>
                <a:gd name="T89" fmla="*/ 56 h 1872"/>
                <a:gd name="T90" fmla="*/ 3270 w 3471"/>
                <a:gd name="T91" fmla="*/ 0 h 1872"/>
                <a:gd name="T92" fmla="*/ 3399 w 3471"/>
                <a:gd name="T93" fmla="*/ 54 h 1872"/>
                <a:gd name="T94" fmla="*/ 3397 w 3471"/>
                <a:gd name="T95" fmla="*/ 316 h 1872"/>
                <a:gd name="T96" fmla="*/ 2939 w 3471"/>
                <a:gd name="T97" fmla="*/ 775 h 1872"/>
                <a:gd name="T98" fmla="*/ 2806 w 3471"/>
                <a:gd name="T99" fmla="*/ 831 h 1872"/>
                <a:gd name="T100" fmla="*/ 2252 w 3471"/>
                <a:gd name="T101" fmla="*/ 831 h 1872"/>
                <a:gd name="T102" fmla="*/ 2119 w 3471"/>
                <a:gd name="T103" fmla="*/ 775 h 1872"/>
                <a:gd name="T104" fmla="*/ 1660 w 3471"/>
                <a:gd name="T105" fmla="*/ 316 h 1872"/>
                <a:gd name="T106" fmla="*/ 1658 w 3471"/>
                <a:gd name="T107" fmla="*/ 54 h 1872"/>
                <a:gd name="T108" fmla="*/ 1787 w 3471"/>
                <a:gd name="T109" fmla="*/ 0 h 1872"/>
                <a:gd name="T110" fmla="*/ 1920 w 3471"/>
                <a:gd name="T111" fmla="*/ 56 h 1872"/>
                <a:gd name="T112" fmla="*/ 2379 w 3471"/>
                <a:gd name="T113" fmla="*/ 515 h 1872"/>
                <a:gd name="T114" fmla="*/ 2381 w 3471"/>
                <a:gd name="T115" fmla="*/ 777 h 1872"/>
                <a:gd name="T116" fmla="*/ 2252 w 3471"/>
                <a:gd name="T117" fmla="*/ 831 h 1872"/>
                <a:gd name="T118" fmla="*/ 2252 w 3471"/>
                <a:gd name="T119" fmla="*/ 831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71" h="1872">
                  <a:moveTo>
                    <a:pt x="3270" y="1872"/>
                  </a:moveTo>
                  <a:cubicBezTo>
                    <a:pt x="3220" y="1872"/>
                    <a:pt x="3173" y="1853"/>
                    <a:pt x="3137" y="1817"/>
                  </a:cubicBezTo>
                  <a:lnTo>
                    <a:pt x="2679" y="1358"/>
                  </a:lnTo>
                  <a:cubicBezTo>
                    <a:pt x="2606" y="1285"/>
                    <a:pt x="2605" y="1167"/>
                    <a:pt x="2677" y="1096"/>
                  </a:cubicBezTo>
                  <a:cubicBezTo>
                    <a:pt x="2711" y="1061"/>
                    <a:pt x="2757" y="1042"/>
                    <a:pt x="2806" y="1042"/>
                  </a:cubicBezTo>
                  <a:cubicBezTo>
                    <a:pt x="2856" y="1042"/>
                    <a:pt x="2903" y="1062"/>
                    <a:pt x="2939" y="1098"/>
                  </a:cubicBezTo>
                  <a:lnTo>
                    <a:pt x="3397" y="1557"/>
                  </a:lnTo>
                  <a:cubicBezTo>
                    <a:pt x="3432" y="1592"/>
                    <a:pt x="3452" y="1639"/>
                    <a:pt x="3452" y="1688"/>
                  </a:cubicBezTo>
                  <a:cubicBezTo>
                    <a:pt x="3453" y="1738"/>
                    <a:pt x="3434" y="1784"/>
                    <a:pt x="3399" y="1819"/>
                  </a:cubicBezTo>
                  <a:cubicBezTo>
                    <a:pt x="3365" y="1854"/>
                    <a:pt x="3319" y="1872"/>
                    <a:pt x="3270" y="1872"/>
                  </a:cubicBezTo>
                  <a:lnTo>
                    <a:pt x="3270" y="1872"/>
                  </a:lnTo>
                  <a:close/>
                  <a:moveTo>
                    <a:pt x="1787" y="1872"/>
                  </a:moveTo>
                  <a:cubicBezTo>
                    <a:pt x="1739" y="1872"/>
                    <a:pt x="1693" y="1854"/>
                    <a:pt x="1658" y="1819"/>
                  </a:cubicBezTo>
                  <a:cubicBezTo>
                    <a:pt x="1624" y="1784"/>
                    <a:pt x="1605" y="1738"/>
                    <a:pt x="1605" y="1688"/>
                  </a:cubicBezTo>
                  <a:cubicBezTo>
                    <a:pt x="1605" y="1639"/>
                    <a:pt x="1625" y="1592"/>
                    <a:pt x="1660" y="1557"/>
                  </a:cubicBezTo>
                  <a:lnTo>
                    <a:pt x="2119" y="1098"/>
                  </a:lnTo>
                  <a:cubicBezTo>
                    <a:pt x="2154" y="1062"/>
                    <a:pt x="2202" y="1042"/>
                    <a:pt x="2252" y="1042"/>
                  </a:cubicBezTo>
                  <a:cubicBezTo>
                    <a:pt x="2300" y="1042"/>
                    <a:pt x="2346" y="1061"/>
                    <a:pt x="2381" y="1096"/>
                  </a:cubicBezTo>
                  <a:cubicBezTo>
                    <a:pt x="2452" y="1167"/>
                    <a:pt x="2451" y="1285"/>
                    <a:pt x="2379" y="1358"/>
                  </a:cubicBezTo>
                  <a:lnTo>
                    <a:pt x="1920" y="1817"/>
                  </a:lnTo>
                  <a:cubicBezTo>
                    <a:pt x="1885" y="1853"/>
                    <a:pt x="1837" y="1872"/>
                    <a:pt x="1787" y="1872"/>
                  </a:cubicBezTo>
                  <a:cubicBezTo>
                    <a:pt x="1787" y="1872"/>
                    <a:pt x="1787" y="1872"/>
                    <a:pt x="1787" y="1872"/>
                  </a:cubicBezTo>
                  <a:close/>
                  <a:moveTo>
                    <a:pt x="196" y="1857"/>
                  </a:moveTo>
                  <a:cubicBezTo>
                    <a:pt x="87" y="1857"/>
                    <a:pt x="0" y="1771"/>
                    <a:pt x="0" y="1662"/>
                  </a:cubicBezTo>
                  <a:lnTo>
                    <a:pt x="0" y="211"/>
                  </a:lnTo>
                  <a:cubicBezTo>
                    <a:pt x="0" y="102"/>
                    <a:pt x="87" y="16"/>
                    <a:pt x="196" y="16"/>
                  </a:cubicBezTo>
                  <a:lnTo>
                    <a:pt x="1219" y="16"/>
                  </a:lnTo>
                  <a:cubicBezTo>
                    <a:pt x="1313" y="16"/>
                    <a:pt x="1390" y="92"/>
                    <a:pt x="1390" y="185"/>
                  </a:cubicBezTo>
                  <a:cubicBezTo>
                    <a:pt x="1390" y="278"/>
                    <a:pt x="1313" y="354"/>
                    <a:pt x="1219" y="354"/>
                  </a:cubicBezTo>
                  <a:lnTo>
                    <a:pt x="372" y="354"/>
                  </a:lnTo>
                  <a:lnTo>
                    <a:pt x="372" y="1518"/>
                  </a:lnTo>
                  <a:lnTo>
                    <a:pt x="1232" y="1518"/>
                  </a:lnTo>
                  <a:cubicBezTo>
                    <a:pt x="1327" y="1518"/>
                    <a:pt x="1404" y="1594"/>
                    <a:pt x="1404" y="1688"/>
                  </a:cubicBezTo>
                  <a:cubicBezTo>
                    <a:pt x="1404" y="1781"/>
                    <a:pt x="1327" y="1857"/>
                    <a:pt x="1232" y="1857"/>
                  </a:cubicBezTo>
                  <a:lnTo>
                    <a:pt x="196" y="1857"/>
                  </a:lnTo>
                  <a:close/>
                  <a:moveTo>
                    <a:pt x="590" y="1099"/>
                  </a:moveTo>
                  <a:lnTo>
                    <a:pt x="590" y="761"/>
                  </a:lnTo>
                  <a:lnTo>
                    <a:pt x="1628" y="761"/>
                  </a:lnTo>
                  <a:cubicBezTo>
                    <a:pt x="1723" y="761"/>
                    <a:pt x="1800" y="837"/>
                    <a:pt x="1800" y="930"/>
                  </a:cubicBezTo>
                  <a:cubicBezTo>
                    <a:pt x="1800" y="1023"/>
                    <a:pt x="1723" y="1099"/>
                    <a:pt x="1628" y="1099"/>
                  </a:cubicBezTo>
                  <a:lnTo>
                    <a:pt x="590" y="1099"/>
                  </a:lnTo>
                  <a:close/>
                  <a:moveTo>
                    <a:pt x="2806" y="831"/>
                  </a:moveTo>
                  <a:cubicBezTo>
                    <a:pt x="2757" y="831"/>
                    <a:pt x="2711" y="812"/>
                    <a:pt x="2677" y="777"/>
                  </a:cubicBezTo>
                  <a:cubicBezTo>
                    <a:pt x="2605" y="706"/>
                    <a:pt x="2606" y="588"/>
                    <a:pt x="2679" y="515"/>
                  </a:cubicBezTo>
                  <a:lnTo>
                    <a:pt x="3137" y="56"/>
                  </a:lnTo>
                  <a:cubicBezTo>
                    <a:pt x="3173" y="20"/>
                    <a:pt x="3220" y="0"/>
                    <a:pt x="3270" y="0"/>
                  </a:cubicBezTo>
                  <a:cubicBezTo>
                    <a:pt x="3319" y="0"/>
                    <a:pt x="3365" y="19"/>
                    <a:pt x="3399" y="54"/>
                  </a:cubicBezTo>
                  <a:cubicBezTo>
                    <a:pt x="3471" y="126"/>
                    <a:pt x="3470" y="243"/>
                    <a:pt x="3397" y="316"/>
                  </a:cubicBezTo>
                  <a:lnTo>
                    <a:pt x="2939" y="775"/>
                  </a:lnTo>
                  <a:cubicBezTo>
                    <a:pt x="2903" y="811"/>
                    <a:pt x="2856" y="831"/>
                    <a:pt x="2806" y="831"/>
                  </a:cubicBezTo>
                  <a:close/>
                  <a:moveTo>
                    <a:pt x="2252" y="831"/>
                  </a:moveTo>
                  <a:cubicBezTo>
                    <a:pt x="2202" y="831"/>
                    <a:pt x="2154" y="811"/>
                    <a:pt x="2119" y="775"/>
                  </a:cubicBezTo>
                  <a:lnTo>
                    <a:pt x="1660" y="316"/>
                  </a:lnTo>
                  <a:cubicBezTo>
                    <a:pt x="1588" y="243"/>
                    <a:pt x="1587" y="126"/>
                    <a:pt x="1658" y="54"/>
                  </a:cubicBezTo>
                  <a:cubicBezTo>
                    <a:pt x="1693" y="19"/>
                    <a:pt x="1739" y="0"/>
                    <a:pt x="1787" y="0"/>
                  </a:cubicBezTo>
                  <a:cubicBezTo>
                    <a:pt x="1837" y="0"/>
                    <a:pt x="1885" y="20"/>
                    <a:pt x="1920" y="56"/>
                  </a:cubicBezTo>
                  <a:lnTo>
                    <a:pt x="2379" y="515"/>
                  </a:lnTo>
                  <a:cubicBezTo>
                    <a:pt x="2451" y="588"/>
                    <a:pt x="2452" y="706"/>
                    <a:pt x="2381" y="777"/>
                  </a:cubicBezTo>
                  <a:cubicBezTo>
                    <a:pt x="2346" y="812"/>
                    <a:pt x="2300" y="831"/>
                    <a:pt x="2252" y="831"/>
                  </a:cubicBezTo>
                  <a:lnTo>
                    <a:pt x="2252" y="83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US" dirty="0"/>
            </a:p>
          </p:txBody>
        </p:sp>
      </p:grpSp>
    </p:spTree>
    <p:extLst>
      <p:ext uri="{BB962C8B-B14F-4D97-AF65-F5344CB8AC3E}">
        <p14:creationId xmlns:p14="http://schemas.microsoft.com/office/powerpoint/2010/main" val="3250529873"/>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 Pictur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6B2F287-1CF5-4994-943B-AE24BADF5F2E}"/>
              </a:ext>
            </a:extLst>
          </p:cNvPr>
          <p:cNvGraphicFramePr>
            <a:graphicFrameLocks noChangeAspect="1"/>
          </p:cNvGraphicFramePr>
          <p:nvPr userDrawn="1">
            <p:custDataLst>
              <p:tags r:id="rId2"/>
            </p:custDataLst>
            <p:extLst>
              <p:ext uri="{D42A27DB-BD31-4B8C-83A1-F6EECF244321}">
                <p14:modId xmlns:p14="http://schemas.microsoft.com/office/powerpoint/2010/main" val="678006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93" name="think-cell Folie" r:id="rId4" imgW="359" imgH="358" progId="TCLayout.ActiveDocument.1">
                  <p:embed/>
                </p:oleObj>
              </mc:Choice>
              <mc:Fallback>
                <p:oleObj name="think-cell Folie" r:id="rId4" imgW="359" imgH="358" progId="TCLayout.ActiveDocument.1">
                  <p:embed/>
                  <p:pic>
                    <p:nvPicPr>
                      <p:cNvPr id="8" name="Objekt 7" hidden="1">
                        <a:extLst>
                          <a:ext uri="{FF2B5EF4-FFF2-40B4-BE49-F238E27FC236}">
                            <a16:creationId xmlns:a16="http://schemas.microsoft.com/office/drawing/2014/main" id="{D6B2F287-1CF5-4994-943B-AE24BADF5F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42B68CD6-5E65-4A3A-864B-64E0F0FC5606}"/>
              </a:ext>
            </a:extLst>
          </p:cNvPr>
          <p:cNvSpPr/>
          <p:nvPr/>
        </p:nvSpPr>
        <p:spPr bwMode="gray">
          <a:xfrm>
            <a:off x="2" y="0"/>
            <a:ext cx="12191998" cy="6858000"/>
          </a:xfrm>
          <a:prstGeom prst="rect">
            <a:avLst/>
          </a:prstGeom>
          <a:solidFill>
            <a:schemeClr val="bg1"/>
          </a:solidFill>
          <a:ln>
            <a:solidFill>
              <a:srgbClr val="666666"/>
            </a:solid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rtl="0"/>
            <a:endParaRPr lang="en-US" sz="1400" dirty="0"/>
          </a:p>
        </p:txBody>
      </p:sp>
      <p:sp>
        <p:nvSpPr>
          <p:cNvPr id="12" name="Bildplatzhalter 11">
            <a:extLst>
              <a:ext uri="{FF2B5EF4-FFF2-40B4-BE49-F238E27FC236}">
                <a16:creationId xmlns:a16="http://schemas.microsoft.com/office/drawing/2014/main" id="{C8EFDC1D-57D1-44D7-934F-2B322D8A83DE}"/>
              </a:ext>
            </a:extLst>
          </p:cNvPr>
          <p:cNvSpPr>
            <a:spLocks noGrp="1"/>
          </p:cNvSpPr>
          <p:nvPr>
            <p:ph type="pic" sz="quarter" idx="14"/>
          </p:nvPr>
        </p:nvSpPr>
        <p:spPr bwMode="gray">
          <a:xfrm>
            <a:off x="0" y="0"/>
            <a:ext cx="12191993" cy="6857997"/>
          </a:xfrm>
          <a:custGeom>
            <a:avLst/>
            <a:gdLst>
              <a:gd name="connsiteX0" fmla="*/ 871218 w 12191993"/>
              <a:gd name="connsiteY0" fmla="*/ 6401826 h 6857997"/>
              <a:gd name="connsiteX1" fmla="*/ 889814 w 12191993"/>
              <a:gd name="connsiteY1" fmla="*/ 6401826 h 6857997"/>
              <a:gd name="connsiteX2" fmla="*/ 911004 w 12191993"/>
              <a:gd name="connsiteY2" fmla="*/ 6419388 h 6857997"/>
              <a:gd name="connsiteX3" fmla="*/ 890349 w 12191993"/>
              <a:gd name="connsiteY3" fmla="*/ 6436783 h 6857997"/>
              <a:gd name="connsiteX4" fmla="*/ 871218 w 12191993"/>
              <a:gd name="connsiteY4" fmla="*/ 6436783 h 6857997"/>
              <a:gd name="connsiteX5" fmla="*/ 975760 w 12191993"/>
              <a:gd name="connsiteY5" fmla="*/ 6377645 h 6857997"/>
              <a:gd name="connsiteX6" fmla="*/ 962289 w 12191993"/>
              <a:gd name="connsiteY6" fmla="*/ 6391032 h 6857997"/>
              <a:gd name="connsiteX7" fmla="*/ 962289 w 12191993"/>
              <a:gd name="connsiteY7" fmla="*/ 6486023 h 6857997"/>
              <a:gd name="connsiteX8" fmla="*/ 975760 w 12191993"/>
              <a:gd name="connsiteY8" fmla="*/ 6499422 h 6857997"/>
              <a:gd name="connsiteX9" fmla="*/ 1044552 w 12191993"/>
              <a:gd name="connsiteY9" fmla="*/ 6499422 h 6857997"/>
              <a:gd name="connsiteX10" fmla="*/ 1056631 w 12191993"/>
              <a:gd name="connsiteY10" fmla="*/ 6487591 h 6857997"/>
              <a:gd name="connsiteX11" fmla="*/ 1044552 w 12191993"/>
              <a:gd name="connsiteY11" fmla="*/ 6475597 h 6857997"/>
              <a:gd name="connsiteX12" fmla="*/ 989061 w 12191993"/>
              <a:gd name="connsiteY12" fmla="*/ 6475597 h 6857997"/>
              <a:gd name="connsiteX13" fmla="*/ 989061 w 12191993"/>
              <a:gd name="connsiteY13" fmla="*/ 6450011 h 6857997"/>
              <a:gd name="connsiteX14" fmla="*/ 1035792 w 12191993"/>
              <a:gd name="connsiteY14" fmla="*/ 6450011 h 6857997"/>
              <a:gd name="connsiteX15" fmla="*/ 1047871 w 12191993"/>
              <a:gd name="connsiteY15" fmla="*/ 6438180 h 6857997"/>
              <a:gd name="connsiteX16" fmla="*/ 1035792 w 12191993"/>
              <a:gd name="connsiteY16" fmla="*/ 6426174 h 6857997"/>
              <a:gd name="connsiteX17" fmla="*/ 989061 w 12191993"/>
              <a:gd name="connsiteY17" fmla="*/ 6426174 h 6857997"/>
              <a:gd name="connsiteX18" fmla="*/ 989061 w 12191993"/>
              <a:gd name="connsiteY18" fmla="*/ 6401483 h 6857997"/>
              <a:gd name="connsiteX19" fmla="*/ 1043677 w 12191993"/>
              <a:gd name="connsiteY19" fmla="*/ 6401483 h 6857997"/>
              <a:gd name="connsiteX20" fmla="*/ 1055752 w 12191993"/>
              <a:gd name="connsiteY20" fmla="*/ 6389642 h 6857997"/>
              <a:gd name="connsiteX21" fmla="*/ 1043677 w 12191993"/>
              <a:gd name="connsiteY21" fmla="*/ 6377645 h 6857997"/>
              <a:gd name="connsiteX22" fmla="*/ 857741 w 12191993"/>
              <a:gd name="connsiteY22" fmla="*/ 6377645 h 6857997"/>
              <a:gd name="connsiteX23" fmla="*/ 844260 w 12191993"/>
              <a:gd name="connsiteY23" fmla="*/ 6391032 h 6857997"/>
              <a:gd name="connsiteX24" fmla="*/ 844260 w 12191993"/>
              <a:gd name="connsiteY24" fmla="*/ 6487068 h 6857997"/>
              <a:gd name="connsiteX25" fmla="*/ 857741 w 12191993"/>
              <a:gd name="connsiteY25" fmla="*/ 6500453 h 6857997"/>
              <a:gd name="connsiteX26" fmla="*/ 871218 w 12191993"/>
              <a:gd name="connsiteY26" fmla="*/ 6487068 h 6857997"/>
              <a:gd name="connsiteX27" fmla="*/ 871218 w 12191993"/>
              <a:gd name="connsiteY27" fmla="*/ 6460454 h 6857997"/>
              <a:gd name="connsiteX28" fmla="*/ 888658 w 12191993"/>
              <a:gd name="connsiteY28" fmla="*/ 6460454 h 6857997"/>
              <a:gd name="connsiteX29" fmla="*/ 916283 w 12191993"/>
              <a:gd name="connsiteY29" fmla="*/ 6493518 h 6857997"/>
              <a:gd name="connsiteX30" fmla="*/ 929577 w 12191993"/>
              <a:gd name="connsiteY30" fmla="*/ 6500453 h 6857997"/>
              <a:gd name="connsiteX31" fmla="*/ 942357 w 12191993"/>
              <a:gd name="connsiteY31" fmla="*/ 6488115 h 6857997"/>
              <a:gd name="connsiteX32" fmla="*/ 937985 w 12191993"/>
              <a:gd name="connsiteY32" fmla="*/ 6477858 h 6857997"/>
              <a:gd name="connsiteX33" fmla="*/ 917888 w 12191993"/>
              <a:gd name="connsiteY33" fmla="*/ 6455227 h 6857997"/>
              <a:gd name="connsiteX34" fmla="*/ 939671 w 12191993"/>
              <a:gd name="connsiteY34" fmla="*/ 6417708 h 6857997"/>
              <a:gd name="connsiteX35" fmla="*/ 927809 w 12191993"/>
              <a:gd name="connsiteY35" fmla="*/ 6389982 h 6857997"/>
              <a:gd name="connsiteX36" fmla="*/ 892095 w 12191993"/>
              <a:gd name="connsiteY36" fmla="*/ 6377645 h 6857997"/>
              <a:gd name="connsiteX37" fmla="*/ 614675 w 12191993"/>
              <a:gd name="connsiteY37" fmla="*/ 6377645 h 6857997"/>
              <a:gd name="connsiteX38" fmla="*/ 601199 w 12191993"/>
              <a:gd name="connsiteY38" fmla="*/ 6391032 h 6857997"/>
              <a:gd name="connsiteX39" fmla="*/ 601199 w 12191993"/>
              <a:gd name="connsiteY39" fmla="*/ 6486023 h 6857997"/>
              <a:gd name="connsiteX40" fmla="*/ 614675 w 12191993"/>
              <a:gd name="connsiteY40" fmla="*/ 6499422 h 6857997"/>
              <a:gd name="connsiteX41" fmla="*/ 683465 w 12191993"/>
              <a:gd name="connsiteY41" fmla="*/ 6499422 h 6857997"/>
              <a:gd name="connsiteX42" fmla="*/ 695551 w 12191993"/>
              <a:gd name="connsiteY42" fmla="*/ 6487591 h 6857997"/>
              <a:gd name="connsiteX43" fmla="*/ 683465 w 12191993"/>
              <a:gd name="connsiteY43" fmla="*/ 6475597 h 6857997"/>
              <a:gd name="connsiteX44" fmla="*/ 627985 w 12191993"/>
              <a:gd name="connsiteY44" fmla="*/ 6475597 h 6857997"/>
              <a:gd name="connsiteX45" fmla="*/ 627985 w 12191993"/>
              <a:gd name="connsiteY45" fmla="*/ 6450011 h 6857997"/>
              <a:gd name="connsiteX46" fmla="*/ 674718 w 12191993"/>
              <a:gd name="connsiteY46" fmla="*/ 6450011 h 6857997"/>
              <a:gd name="connsiteX47" fmla="*/ 686799 w 12191993"/>
              <a:gd name="connsiteY47" fmla="*/ 6438180 h 6857997"/>
              <a:gd name="connsiteX48" fmla="*/ 674718 w 12191993"/>
              <a:gd name="connsiteY48" fmla="*/ 6426174 h 6857997"/>
              <a:gd name="connsiteX49" fmla="*/ 627985 w 12191993"/>
              <a:gd name="connsiteY49" fmla="*/ 6426174 h 6857997"/>
              <a:gd name="connsiteX50" fmla="*/ 627985 w 12191993"/>
              <a:gd name="connsiteY50" fmla="*/ 6401483 h 6857997"/>
              <a:gd name="connsiteX51" fmla="*/ 682594 w 12191993"/>
              <a:gd name="connsiteY51" fmla="*/ 6401483 h 6857997"/>
              <a:gd name="connsiteX52" fmla="*/ 694674 w 12191993"/>
              <a:gd name="connsiteY52" fmla="*/ 6389642 h 6857997"/>
              <a:gd name="connsiteX53" fmla="*/ 682594 w 12191993"/>
              <a:gd name="connsiteY53" fmla="*/ 6377645 h 6857997"/>
              <a:gd name="connsiteX54" fmla="*/ 1084032 w 12191993"/>
              <a:gd name="connsiteY54" fmla="*/ 6376596 h 6857997"/>
              <a:gd name="connsiteX55" fmla="*/ 1070728 w 12191993"/>
              <a:gd name="connsiteY55" fmla="*/ 6389815 h 6857997"/>
              <a:gd name="connsiteX56" fmla="*/ 1074752 w 12191993"/>
              <a:gd name="connsiteY56" fmla="*/ 6399743 h 6857997"/>
              <a:gd name="connsiteX57" fmla="*/ 1105916 w 12191993"/>
              <a:gd name="connsiteY57" fmla="*/ 6437490 h 6857997"/>
              <a:gd name="connsiteX58" fmla="*/ 1072832 w 12191993"/>
              <a:gd name="connsiteY58" fmla="*/ 6477859 h 6857997"/>
              <a:gd name="connsiteX59" fmla="*/ 1068804 w 12191993"/>
              <a:gd name="connsiteY59" fmla="*/ 6488116 h 6857997"/>
              <a:gd name="connsiteX60" fmla="*/ 1081058 w 12191993"/>
              <a:gd name="connsiteY60" fmla="*/ 6500453 h 6857997"/>
              <a:gd name="connsiteX61" fmla="*/ 1094178 w 12191993"/>
              <a:gd name="connsiteY61" fmla="*/ 6493158 h 6857997"/>
              <a:gd name="connsiteX62" fmla="*/ 1122547 w 12191993"/>
              <a:gd name="connsiteY62" fmla="*/ 6456446 h 6857997"/>
              <a:gd name="connsiteX63" fmla="*/ 1151245 w 12191993"/>
              <a:gd name="connsiteY63" fmla="*/ 6493840 h 6857997"/>
              <a:gd name="connsiteX64" fmla="*/ 1163682 w 12191993"/>
              <a:gd name="connsiteY64" fmla="*/ 6500453 h 6857997"/>
              <a:gd name="connsiteX65" fmla="*/ 1176985 w 12191993"/>
              <a:gd name="connsiteY65" fmla="*/ 6487245 h 6857997"/>
              <a:gd name="connsiteX66" fmla="*/ 1172953 w 12191993"/>
              <a:gd name="connsiteY66" fmla="*/ 6477326 h 6857997"/>
              <a:gd name="connsiteX67" fmla="*/ 1140045 w 12191993"/>
              <a:gd name="connsiteY67" fmla="*/ 6437142 h 6857997"/>
              <a:gd name="connsiteX68" fmla="*/ 1171204 w 12191993"/>
              <a:gd name="connsiteY68" fmla="*/ 6399218 h 6857997"/>
              <a:gd name="connsiteX69" fmla="*/ 1175232 w 12191993"/>
              <a:gd name="connsiteY69" fmla="*/ 6388948 h 6857997"/>
              <a:gd name="connsiteX70" fmla="*/ 1162974 w 12191993"/>
              <a:gd name="connsiteY70" fmla="*/ 6376596 h 6857997"/>
              <a:gd name="connsiteX71" fmla="*/ 1149854 w 12191993"/>
              <a:gd name="connsiteY71" fmla="*/ 6383906 h 6857997"/>
              <a:gd name="connsiteX72" fmla="*/ 1123242 w 12191993"/>
              <a:gd name="connsiteY72" fmla="*/ 6418698 h 6857997"/>
              <a:gd name="connsiteX73" fmla="*/ 1096461 w 12191993"/>
              <a:gd name="connsiteY73" fmla="*/ 6383214 h 6857997"/>
              <a:gd name="connsiteX74" fmla="*/ 1084032 w 12191993"/>
              <a:gd name="connsiteY74" fmla="*/ 6376596 h 6857997"/>
              <a:gd name="connsiteX75" fmla="*/ 726895 w 12191993"/>
              <a:gd name="connsiteY75" fmla="*/ 6376596 h 6857997"/>
              <a:gd name="connsiteX76" fmla="*/ 713418 w 12191993"/>
              <a:gd name="connsiteY76" fmla="*/ 6389983 h 6857997"/>
              <a:gd name="connsiteX77" fmla="*/ 713418 w 12191993"/>
              <a:gd name="connsiteY77" fmla="*/ 6447235 h 6857997"/>
              <a:gd name="connsiteX78" fmla="*/ 766460 w 12191993"/>
              <a:gd name="connsiteY78" fmla="*/ 6501335 h 6857997"/>
              <a:gd name="connsiteX79" fmla="*/ 820190 w 12191993"/>
              <a:gd name="connsiteY79" fmla="*/ 6446364 h 6857997"/>
              <a:gd name="connsiteX80" fmla="*/ 820190 w 12191993"/>
              <a:gd name="connsiteY80" fmla="*/ 6389983 h 6857997"/>
              <a:gd name="connsiteX81" fmla="*/ 806715 w 12191993"/>
              <a:gd name="connsiteY81" fmla="*/ 6376596 h 6857997"/>
              <a:gd name="connsiteX82" fmla="*/ 793233 w 12191993"/>
              <a:gd name="connsiteY82" fmla="*/ 6389983 h 6857997"/>
              <a:gd name="connsiteX83" fmla="*/ 793233 w 12191993"/>
              <a:gd name="connsiteY83" fmla="*/ 6447403 h 6857997"/>
              <a:gd name="connsiteX84" fmla="*/ 766806 w 12191993"/>
              <a:gd name="connsiteY84" fmla="*/ 6476628 h 6857997"/>
              <a:gd name="connsiteX85" fmla="*/ 740371 w 12191993"/>
              <a:gd name="connsiteY85" fmla="*/ 6446530 h 6857997"/>
              <a:gd name="connsiteX86" fmla="*/ 740371 w 12191993"/>
              <a:gd name="connsiteY86" fmla="*/ 6389983 h 6857997"/>
              <a:gd name="connsiteX87" fmla="*/ 726895 w 12191993"/>
              <a:gd name="connsiteY87" fmla="*/ 6376596 h 6857997"/>
              <a:gd name="connsiteX88" fmla="*/ 10804524 w 12191993"/>
              <a:gd name="connsiteY88" fmla="*/ 1 h 6857997"/>
              <a:gd name="connsiteX89" fmla="*/ 10804524 w 12191993"/>
              <a:gd name="connsiteY89" fmla="*/ 730423 h 6857997"/>
              <a:gd name="connsiteX90" fmla="*/ 11209337 w 12191993"/>
              <a:gd name="connsiteY90" fmla="*/ 1135064 h 6857997"/>
              <a:gd name="connsiteX91" fmla="*/ 11614149 w 12191993"/>
              <a:gd name="connsiteY91" fmla="*/ 730423 h 6857997"/>
              <a:gd name="connsiteX92" fmla="*/ 11614149 w 12191993"/>
              <a:gd name="connsiteY92" fmla="*/ 1 h 6857997"/>
              <a:gd name="connsiteX93" fmla="*/ 10452098 w 12191993"/>
              <a:gd name="connsiteY93" fmla="*/ 0 h 6857997"/>
              <a:gd name="connsiteX94" fmla="*/ 11999911 w 12191993"/>
              <a:gd name="connsiteY94" fmla="*/ 0 h 6857997"/>
              <a:gd name="connsiteX95" fmla="*/ 11999911 w 12191993"/>
              <a:gd name="connsiteY95" fmla="*/ 1 h 6857997"/>
              <a:gd name="connsiteX96" fmla="*/ 12191993 w 12191993"/>
              <a:gd name="connsiteY96" fmla="*/ 1 h 6857997"/>
              <a:gd name="connsiteX97" fmla="*/ 12191993 w 12191993"/>
              <a:gd name="connsiteY97" fmla="*/ 6857997 h 6857997"/>
              <a:gd name="connsiteX98" fmla="*/ 0 w 12191993"/>
              <a:gd name="connsiteY98" fmla="*/ 6857997 h 6857997"/>
              <a:gd name="connsiteX99" fmla="*/ 0 w 12191993"/>
              <a:gd name="connsiteY99" fmla="*/ 1 h 6857997"/>
              <a:gd name="connsiteX100" fmla="*/ 10452098 w 12191993"/>
              <a:gd name="connsiteY100" fmla="*/ 1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2191993" h="6857997">
                <a:moveTo>
                  <a:pt x="871218" y="6401826"/>
                </a:moveTo>
                <a:lnTo>
                  <a:pt x="889814" y="6401826"/>
                </a:lnTo>
                <a:cubicBezTo>
                  <a:pt x="902950" y="6401826"/>
                  <a:pt x="911004" y="6407683"/>
                  <a:pt x="911004" y="6419388"/>
                </a:cubicBezTo>
                <a:cubicBezTo>
                  <a:pt x="911004" y="6429860"/>
                  <a:pt x="903474" y="6436783"/>
                  <a:pt x="890349" y="6436783"/>
                </a:cubicBezTo>
                <a:lnTo>
                  <a:pt x="871218" y="6436783"/>
                </a:lnTo>
                <a:close/>
                <a:moveTo>
                  <a:pt x="975760" y="6377645"/>
                </a:moveTo>
                <a:cubicBezTo>
                  <a:pt x="968236" y="6377645"/>
                  <a:pt x="962289" y="6383553"/>
                  <a:pt x="962289" y="6391032"/>
                </a:cubicBezTo>
                <a:lnTo>
                  <a:pt x="962289" y="6486023"/>
                </a:lnTo>
                <a:cubicBezTo>
                  <a:pt x="962289" y="6493518"/>
                  <a:pt x="968236" y="6499422"/>
                  <a:pt x="975760" y="6499422"/>
                </a:cubicBezTo>
                <a:lnTo>
                  <a:pt x="1044552" y="6499422"/>
                </a:lnTo>
                <a:cubicBezTo>
                  <a:pt x="1051203" y="6499422"/>
                  <a:pt x="1056631" y="6494204"/>
                  <a:pt x="1056631" y="6487591"/>
                </a:cubicBezTo>
                <a:cubicBezTo>
                  <a:pt x="1056631" y="6480981"/>
                  <a:pt x="1051203" y="6475597"/>
                  <a:pt x="1044552" y="6475597"/>
                </a:cubicBezTo>
                <a:lnTo>
                  <a:pt x="989061" y="6475597"/>
                </a:lnTo>
                <a:lnTo>
                  <a:pt x="989061" y="6450011"/>
                </a:lnTo>
                <a:lnTo>
                  <a:pt x="1035792" y="6450011"/>
                </a:lnTo>
                <a:cubicBezTo>
                  <a:pt x="1042448" y="6450011"/>
                  <a:pt x="1047871" y="6444798"/>
                  <a:pt x="1047871" y="6438180"/>
                </a:cubicBezTo>
                <a:cubicBezTo>
                  <a:pt x="1047871" y="6431570"/>
                  <a:pt x="1042448" y="6426174"/>
                  <a:pt x="1035792" y="6426174"/>
                </a:cubicBezTo>
                <a:lnTo>
                  <a:pt x="989061" y="6426174"/>
                </a:lnTo>
                <a:lnTo>
                  <a:pt x="989061" y="6401483"/>
                </a:lnTo>
                <a:lnTo>
                  <a:pt x="1043677" y="6401483"/>
                </a:lnTo>
                <a:cubicBezTo>
                  <a:pt x="1050329" y="6401483"/>
                  <a:pt x="1055752" y="6396256"/>
                  <a:pt x="1055752" y="6389642"/>
                </a:cubicBezTo>
                <a:cubicBezTo>
                  <a:pt x="1055752" y="6383042"/>
                  <a:pt x="1050329" y="6377645"/>
                  <a:pt x="1043677" y="6377645"/>
                </a:cubicBezTo>
                <a:close/>
                <a:moveTo>
                  <a:pt x="857741" y="6377645"/>
                </a:moveTo>
                <a:cubicBezTo>
                  <a:pt x="850208" y="6377645"/>
                  <a:pt x="844260" y="6383553"/>
                  <a:pt x="844260" y="6391032"/>
                </a:cubicBezTo>
                <a:lnTo>
                  <a:pt x="844260" y="6487068"/>
                </a:lnTo>
                <a:cubicBezTo>
                  <a:pt x="844260" y="6494548"/>
                  <a:pt x="850208" y="6500453"/>
                  <a:pt x="857741" y="6500453"/>
                </a:cubicBezTo>
                <a:cubicBezTo>
                  <a:pt x="865270" y="6500453"/>
                  <a:pt x="871218" y="6494549"/>
                  <a:pt x="871218" y="6487068"/>
                </a:cubicBezTo>
                <a:lnTo>
                  <a:pt x="871218" y="6460454"/>
                </a:lnTo>
                <a:lnTo>
                  <a:pt x="888658" y="6460454"/>
                </a:lnTo>
                <a:lnTo>
                  <a:pt x="916283" y="6493518"/>
                </a:lnTo>
                <a:cubicBezTo>
                  <a:pt x="919431" y="6497514"/>
                  <a:pt x="923454" y="6500453"/>
                  <a:pt x="929577" y="6500453"/>
                </a:cubicBezTo>
                <a:cubicBezTo>
                  <a:pt x="936063" y="6500453"/>
                  <a:pt x="942357" y="6495598"/>
                  <a:pt x="942357" y="6488115"/>
                </a:cubicBezTo>
                <a:cubicBezTo>
                  <a:pt x="942358" y="6483938"/>
                  <a:pt x="940611" y="6481161"/>
                  <a:pt x="937985" y="6477858"/>
                </a:cubicBezTo>
                <a:lnTo>
                  <a:pt x="917888" y="6455227"/>
                </a:lnTo>
                <a:cubicBezTo>
                  <a:pt x="934131" y="6447867"/>
                  <a:pt x="939670" y="6432030"/>
                  <a:pt x="939671" y="6417708"/>
                </a:cubicBezTo>
                <a:cubicBezTo>
                  <a:pt x="939671" y="6406380"/>
                  <a:pt x="934628" y="6396781"/>
                  <a:pt x="927809" y="6389982"/>
                </a:cubicBezTo>
                <a:cubicBezTo>
                  <a:pt x="919750" y="6381999"/>
                  <a:pt x="907673" y="6377645"/>
                  <a:pt x="892095" y="6377645"/>
                </a:cubicBezTo>
                <a:close/>
                <a:moveTo>
                  <a:pt x="614675" y="6377645"/>
                </a:moveTo>
                <a:cubicBezTo>
                  <a:pt x="607146" y="6377645"/>
                  <a:pt x="601199" y="6383553"/>
                  <a:pt x="601199" y="6391032"/>
                </a:cubicBezTo>
                <a:lnTo>
                  <a:pt x="601199" y="6486023"/>
                </a:lnTo>
                <a:cubicBezTo>
                  <a:pt x="601199" y="6493518"/>
                  <a:pt x="607146" y="6499422"/>
                  <a:pt x="614675" y="6499422"/>
                </a:cubicBezTo>
                <a:lnTo>
                  <a:pt x="683465" y="6499422"/>
                </a:lnTo>
                <a:cubicBezTo>
                  <a:pt x="690116" y="6499422"/>
                  <a:pt x="695551" y="6494204"/>
                  <a:pt x="695551" y="6487591"/>
                </a:cubicBezTo>
                <a:cubicBezTo>
                  <a:pt x="695551" y="6480981"/>
                  <a:pt x="690116" y="6475597"/>
                  <a:pt x="683465" y="6475597"/>
                </a:cubicBezTo>
                <a:lnTo>
                  <a:pt x="627985" y="6475597"/>
                </a:lnTo>
                <a:lnTo>
                  <a:pt x="627985" y="6450011"/>
                </a:lnTo>
                <a:lnTo>
                  <a:pt x="674718" y="6450011"/>
                </a:lnTo>
                <a:cubicBezTo>
                  <a:pt x="681364" y="6450011"/>
                  <a:pt x="686799" y="6444798"/>
                  <a:pt x="686799" y="6438180"/>
                </a:cubicBezTo>
                <a:cubicBezTo>
                  <a:pt x="686799" y="6431570"/>
                  <a:pt x="681364" y="6426174"/>
                  <a:pt x="674718" y="6426174"/>
                </a:cubicBezTo>
                <a:lnTo>
                  <a:pt x="627985" y="6426174"/>
                </a:lnTo>
                <a:lnTo>
                  <a:pt x="627985" y="6401483"/>
                </a:lnTo>
                <a:lnTo>
                  <a:pt x="682594" y="6401483"/>
                </a:lnTo>
                <a:cubicBezTo>
                  <a:pt x="689241" y="6401483"/>
                  <a:pt x="694674" y="6396256"/>
                  <a:pt x="694674" y="6389642"/>
                </a:cubicBezTo>
                <a:cubicBezTo>
                  <a:pt x="694674" y="6383042"/>
                  <a:pt x="689241" y="6377645"/>
                  <a:pt x="682594" y="6377645"/>
                </a:cubicBezTo>
                <a:close/>
                <a:moveTo>
                  <a:pt x="1084032" y="6376596"/>
                </a:moveTo>
                <a:cubicBezTo>
                  <a:pt x="1076330" y="6376596"/>
                  <a:pt x="1070728" y="6382334"/>
                  <a:pt x="1070728" y="6389815"/>
                </a:cubicBezTo>
                <a:cubicBezTo>
                  <a:pt x="1070728" y="6393639"/>
                  <a:pt x="1072648" y="6397126"/>
                  <a:pt x="1074752" y="6399743"/>
                </a:cubicBezTo>
                <a:lnTo>
                  <a:pt x="1105916" y="6437490"/>
                </a:lnTo>
                <a:lnTo>
                  <a:pt x="1072832" y="6477859"/>
                </a:lnTo>
                <a:cubicBezTo>
                  <a:pt x="1070208" y="6481162"/>
                  <a:pt x="1068808" y="6484296"/>
                  <a:pt x="1068804" y="6488116"/>
                </a:cubicBezTo>
                <a:cubicBezTo>
                  <a:pt x="1068804" y="6495771"/>
                  <a:pt x="1075106" y="6500453"/>
                  <a:pt x="1081058" y="6500453"/>
                </a:cubicBezTo>
                <a:cubicBezTo>
                  <a:pt x="1087006" y="6500453"/>
                  <a:pt x="1090509" y="6497851"/>
                  <a:pt x="1094178" y="6493158"/>
                </a:cubicBezTo>
                <a:lnTo>
                  <a:pt x="1122547" y="6456446"/>
                </a:lnTo>
                <a:lnTo>
                  <a:pt x="1151245" y="6493840"/>
                </a:lnTo>
                <a:cubicBezTo>
                  <a:pt x="1154577" y="6498202"/>
                  <a:pt x="1157901" y="6500453"/>
                  <a:pt x="1163682" y="6500453"/>
                </a:cubicBezTo>
                <a:cubicBezTo>
                  <a:pt x="1171375" y="6500453"/>
                  <a:pt x="1176985" y="6494721"/>
                  <a:pt x="1176985" y="6487245"/>
                </a:cubicBezTo>
                <a:cubicBezTo>
                  <a:pt x="1176985" y="6483414"/>
                  <a:pt x="1175061" y="6479930"/>
                  <a:pt x="1172953" y="6477326"/>
                </a:cubicBezTo>
                <a:lnTo>
                  <a:pt x="1140045" y="6437142"/>
                </a:lnTo>
                <a:lnTo>
                  <a:pt x="1171204" y="6399218"/>
                </a:lnTo>
                <a:cubicBezTo>
                  <a:pt x="1173832" y="6395908"/>
                  <a:pt x="1175232" y="6392785"/>
                  <a:pt x="1175232" y="6388948"/>
                </a:cubicBezTo>
                <a:cubicBezTo>
                  <a:pt x="1175232" y="6381285"/>
                  <a:pt x="1168930" y="6376596"/>
                  <a:pt x="1162974" y="6376596"/>
                </a:cubicBezTo>
                <a:cubicBezTo>
                  <a:pt x="1157030" y="6376596"/>
                  <a:pt x="1153527" y="6379213"/>
                  <a:pt x="1149854" y="6383906"/>
                </a:cubicBezTo>
                <a:lnTo>
                  <a:pt x="1123242" y="6418698"/>
                </a:lnTo>
                <a:lnTo>
                  <a:pt x="1096461" y="6383214"/>
                </a:lnTo>
                <a:cubicBezTo>
                  <a:pt x="1093137" y="6378861"/>
                  <a:pt x="1089813" y="6376596"/>
                  <a:pt x="1084032" y="6376596"/>
                </a:cubicBezTo>
                <a:close/>
                <a:moveTo>
                  <a:pt x="726895" y="6376596"/>
                </a:moveTo>
                <a:cubicBezTo>
                  <a:pt x="719373" y="6376596"/>
                  <a:pt x="713418" y="6382520"/>
                  <a:pt x="713418" y="6389983"/>
                </a:cubicBezTo>
                <a:lnTo>
                  <a:pt x="713418" y="6447235"/>
                </a:lnTo>
                <a:cubicBezTo>
                  <a:pt x="713418" y="6483068"/>
                  <a:pt x="733544" y="6501335"/>
                  <a:pt x="766460" y="6501335"/>
                </a:cubicBezTo>
                <a:cubicBezTo>
                  <a:pt x="799369" y="6501335"/>
                  <a:pt x="820190" y="6483247"/>
                  <a:pt x="820190" y="6446364"/>
                </a:cubicBezTo>
                <a:lnTo>
                  <a:pt x="820190" y="6389983"/>
                </a:lnTo>
                <a:cubicBezTo>
                  <a:pt x="820190" y="6382519"/>
                  <a:pt x="814240" y="6376596"/>
                  <a:pt x="806715" y="6376596"/>
                </a:cubicBezTo>
                <a:cubicBezTo>
                  <a:pt x="799194" y="6376596"/>
                  <a:pt x="793233" y="6382520"/>
                  <a:pt x="793233" y="6389983"/>
                </a:cubicBezTo>
                <a:lnTo>
                  <a:pt x="793233" y="6447403"/>
                </a:lnTo>
                <a:cubicBezTo>
                  <a:pt x="793233" y="6466715"/>
                  <a:pt x="783258" y="6476628"/>
                  <a:pt x="766806" y="6476628"/>
                </a:cubicBezTo>
                <a:cubicBezTo>
                  <a:pt x="750357" y="6476628"/>
                  <a:pt x="740371" y="6466358"/>
                  <a:pt x="740371" y="6446530"/>
                </a:cubicBezTo>
                <a:lnTo>
                  <a:pt x="740371" y="6389983"/>
                </a:lnTo>
                <a:cubicBezTo>
                  <a:pt x="740371" y="6382519"/>
                  <a:pt x="734418" y="6376596"/>
                  <a:pt x="726895" y="6376596"/>
                </a:cubicBezTo>
                <a:close/>
                <a:moveTo>
                  <a:pt x="10804524" y="1"/>
                </a:moveTo>
                <a:lnTo>
                  <a:pt x="10804524" y="730423"/>
                </a:lnTo>
                <a:cubicBezTo>
                  <a:pt x="10804524" y="953909"/>
                  <a:pt x="10985832" y="1135064"/>
                  <a:pt x="11209337" y="1135064"/>
                </a:cubicBezTo>
                <a:cubicBezTo>
                  <a:pt x="11433013" y="1135064"/>
                  <a:pt x="11614149" y="953909"/>
                  <a:pt x="11614149" y="730423"/>
                </a:cubicBezTo>
                <a:lnTo>
                  <a:pt x="11614149" y="1"/>
                </a:lnTo>
                <a:close/>
                <a:moveTo>
                  <a:pt x="10452098" y="0"/>
                </a:moveTo>
                <a:lnTo>
                  <a:pt x="11999911" y="0"/>
                </a:lnTo>
                <a:lnTo>
                  <a:pt x="11999911" y="1"/>
                </a:lnTo>
                <a:lnTo>
                  <a:pt x="12191993" y="1"/>
                </a:lnTo>
                <a:lnTo>
                  <a:pt x="12191993" y="6857997"/>
                </a:lnTo>
                <a:lnTo>
                  <a:pt x="0" y="6857997"/>
                </a:lnTo>
                <a:lnTo>
                  <a:pt x="0" y="1"/>
                </a:lnTo>
                <a:lnTo>
                  <a:pt x="10452098" y="1"/>
                </a:lnTo>
                <a:close/>
              </a:path>
            </a:pathLst>
          </a:custGeom>
          <a:solidFill>
            <a:srgbClr val="666666"/>
          </a:solidFill>
          <a:ln w="0">
            <a:solidFill>
              <a:schemeClr val="accent4">
                <a:alpha val="0"/>
              </a:schemeClr>
            </a:solidFill>
          </a:ln>
        </p:spPr>
        <p:txBody>
          <a:bodyPr wrap="square" anchor="ctr">
            <a:noAutofit/>
          </a:bodyPr>
          <a:lstStyle>
            <a:lvl1pPr algn="ctr" rtl="0">
              <a:defRPr sz="1400"/>
            </a:lvl1pPr>
          </a:lstStyle>
          <a:p>
            <a:endParaRPr lang="en-US" noProof="0" dirty="0"/>
          </a:p>
        </p:txBody>
      </p:sp>
      <p:sp>
        <p:nvSpPr>
          <p:cNvPr id="17" name="Freeform 17">
            <a:extLst>
              <a:ext uri="{FF2B5EF4-FFF2-40B4-BE49-F238E27FC236}">
                <a16:creationId xmlns:a16="http://schemas.microsoft.com/office/drawing/2014/main" id="{CD220309-06C7-4099-8C62-0E972EBC963F}"/>
              </a:ext>
            </a:extLst>
          </p:cNvPr>
          <p:cNvSpPr>
            <a:spLocks noEditPoints="1"/>
          </p:cNvSpPr>
          <p:nvPr/>
        </p:nvSpPr>
        <p:spPr bwMode="gray">
          <a:xfrm>
            <a:off x="10929938" y="487363"/>
            <a:ext cx="595313" cy="320675"/>
          </a:xfrm>
          <a:custGeom>
            <a:avLst/>
            <a:gdLst>
              <a:gd name="T0" fmla="*/ 3270 w 3471"/>
              <a:gd name="T1" fmla="*/ 1872 h 1872"/>
              <a:gd name="T2" fmla="*/ 3137 w 3471"/>
              <a:gd name="T3" fmla="*/ 1817 h 1872"/>
              <a:gd name="T4" fmla="*/ 2679 w 3471"/>
              <a:gd name="T5" fmla="*/ 1358 h 1872"/>
              <a:gd name="T6" fmla="*/ 2677 w 3471"/>
              <a:gd name="T7" fmla="*/ 1096 h 1872"/>
              <a:gd name="T8" fmla="*/ 2806 w 3471"/>
              <a:gd name="T9" fmla="*/ 1042 h 1872"/>
              <a:gd name="T10" fmla="*/ 2939 w 3471"/>
              <a:gd name="T11" fmla="*/ 1098 h 1872"/>
              <a:gd name="T12" fmla="*/ 3397 w 3471"/>
              <a:gd name="T13" fmla="*/ 1557 h 1872"/>
              <a:gd name="T14" fmla="*/ 3452 w 3471"/>
              <a:gd name="T15" fmla="*/ 1688 h 1872"/>
              <a:gd name="T16" fmla="*/ 3399 w 3471"/>
              <a:gd name="T17" fmla="*/ 1819 h 1872"/>
              <a:gd name="T18" fmla="*/ 3270 w 3471"/>
              <a:gd name="T19" fmla="*/ 1872 h 1872"/>
              <a:gd name="T20" fmla="*/ 3270 w 3471"/>
              <a:gd name="T21" fmla="*/ 1872 h 1872"/>
              <a:gd name="T22" fmla="*/ 1787 w 3471"/>
              <a:gd name="T23" fmla="*/ 1872 h 1872"/>
              <a:gd name="T24" fmla="*/ 1658 w 3471"/>
              <a:gd name="T25" fmla="*/ 1819 h 1872"/>
              <a:gd name="T26" fmla="*/ 1605 w 3471"/>
              <a:gd name="T27" fmla="*/ 1688 h 1872"/>
              <a:gd name="T28" fmla="*/ 1660 w 3471"/>
              <a:gd name="T29" fmla="*/ 1557 h 1872"/>
              <a:gd name="T30" fmla="*/ 2119 w 3471"/>
              <a:gd name="T31" fmla="*/ 1098 h 1872"/>
              <a:gd name="T32" fmla="*/ 2252 w 3471"/>
              <a:gd name="T33" fmla="*/ 1042 h 1872"/>
              <a:gd name="T34" fmla="*/ 2381 w 3471"/>
              <a:gd name="T35" fmla="*/ 1096 h 1872"/>
              <a:gd name="T36" fmla="*/ 2379 w 3471"/>
              <a:gd name="T37" fmla="*/ 1358 h 1872"/>
              <a:gd name="T38" fmla="*/ 1920 w 3471"/>
              <a:gd name="T39" fmla="*/ 1817 h 1872"/>
              <a:gd name="T40" fmla="*/ 1787 w 3471"/>
              <a:gd name="T41" fmla="*/ 1872 h 1872"/>
              <a:gd name="T42" fmla="*/ 1787 w 3471"/>
              <a:gd name="T43" fmla="*/ 1872 h 1872"/>
              <a:gd name="T44" fmla="*/ 196 w 3471"/>
              <a:gd name="T45" fmla="*/ 1857 h 1872"/>
              <a:gd name="T46" fmla="*/ 0 w 3471"/>
              <a:gd name="T47" fmla="*/ 1662 h 1872"/>
              <a:gd name="T48" fmla="*/ 0 w 3471"/>
              <a:gd name="T49" fmla="*/ 211 h 1872"/>
              <a:gd name="T50" fmla="*/ 196 w 3471"/>
              <a:gd name="T51" fmla="*/ 16 h 1872"/>
              <a:gd name="T52" fmla="*/ 1219 w 3471"/>
              <a:gd name="T53" fmla="*/ 16 h 1872"/>
              <a:gd name="T54" fmla="*/ 1390 w 3471"/>
              <a:gd name="T55" fmla="*/ 185 h 1872"/>
              <a:gd name="T56" fmla="*/ 1219 w 3471"/>
              <a:gd name="T57" fmla="*/ 354 h 1872"/>
              <a:gd name="T58" fmla="*/ 372 w 3471"/>
              <a:gd name="T59" fmla="*/ 354 h 1872"/>
              <a:gd name="T60" fmla="*/ 372 w 3471"/>
              <a:gd name="T61" fmla="*/ 1518 h 1872"/>
              <a:gd name="T62" fmla="*/ 1232 w 3471"/>
              <a:gd name="T63" fmla="*/ 1518 h 1872"/>
              <a:gd name="T64" fmla="*/ 1404 w 3471"/>
              <a:gd name="T65" fmla="*/ 1688 h 1872"/>
              <a:gd name="T66" fmla="*/ 1232 w 3471"/>
              <a:gd name="T67" fmla="*/ 1857 h 1872"/>
              <a:gd name="T68" fmla="*/ 196 w 3471"/>
              <a:gd name="T69" fmla="*/ 1857 h 1872"/>
              <a:gd name="T70" fmla="*/ 590 w 3471"/>
              <a:gd name="T71" fmla="*/ 1099 h 1872"/>
              <a:gd name="T72" fmla="*/ 590 w 3471"/>
              <a:gd name="T73" fmla="*/ 761 h 1872"/>
              <a:gd name="T74" fmla="*/ 1628 w 3471"/>
              <a:gd name="T75" fmla="*/ 761 h 1872"/>
              <a:gd name="T76" fmla="*/ 1800 w 3471"/>
              <a:gd name="T77" fmla="*/ 930 h 1872"/>
              <a:gd name="T78" fmla="*/ 1628 w 3471"/>
              <a:gd name="T79" fmla="*/ 1099 h 1872"/>
              <a:gd name="T80" fmla="*/ 590 w 3471"/>
              <a:gd name="T81" fmla="*/ 1099 h 1872"/>
              <a:gd name="T82" fmla="*/ 2806 w 3471"/>
              <a:gd name="T83" fmla="*/ 831 h 1872"/>
              <a:gd name="T84" fmla="*/ 2677 w 3471"/>
              <a:gd name="T85" fmla="*/ 777 h 1872"/>
              <a:gd name="T86" fmla="*/ 2679 w 3471"/>
              <a:gd name="T87" fmla="*/ 515 h 1872"/>
              <a:gd name="T88" fmla="*/ 3137 w 3471"/>
              <a:gd name="T89" fmla="*/ 56 h 1872"/>
              <a:gd name="T90" fmla="*/ 3270 w 3471"/>
              <a:gd name="T91" fmla="*/ 0 h 1872"/>
              <a:gd name="T92" fmla="*/ 3399 w 3471"/>
              <a:gd name="T93" fmla="*/ 54 h 1872"/>
              <a:gd name="T94" fmla="*/ 3397 w 3471"/>
              <a:gd name="T95" fmla="*/ 316 h 1872"/>
              <a:gd name="T96" fmla="*/ 2939 w 3471"/>
              <a:gd name="T97" fmla="*/ 775 h 1872"/>
              <a:gd name="T98" fmla="*/ 2806 w 3471"/>
              <a:gd name="T99" fmla="*/ 831 h 1872"/>
              <a:gd name="T100" fmla="*/ 2252 w 3471"/>
              <a:gd name="T101" fmla="*/ 831 h 1872"/>
              <a:gd name="T102" fmla="*/ 2119 w 3471"/>
              <a:gd name="T103" fmla="*/ 775 h 1872"/>
              <a:gd name="T104" fmla="*/ 1660 w 3471"/>
              <a:gd name="T105" fmla="*/ 316 h 1872"/>
              <a:gd name="T106" fmla="*/ 1658 w 3471"/>
              <a:gd name="T107" fmla="*/ 54 h 1872"/>
              <a:gd name="T108" fmla="*/ 1787 w 3471"/>
              <a:gd name="T109" fmla="*/ 0 h 1872"/>
              <a:gd name="T110" fmla="*/ 1920 w 3471"/>
              <a:gd name="T111" fmla="*/ 56 h 1872"/>
              <a:gd name="T112" fmla="*/ 2379 w 3471"/>
              <a:gd name="T113" fmla="*/ 515 h 1872"/>
              <a:gd name="T114" fmla="*/ 2381 w 3471"/>
              <a:gd name="T115" fmla="*/ 777 h 1872"/>
              <a:gd name="T116" fmla="*/ 2252 w 3471"/>
              <a:gd name="T117" fmla="*/ 831 h 1872"/>
              <a:gd name="T118" fmla="*/ 2252 w 3471"/>
              <a:gd name="T119" fmla="*/ 831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71" h="1872">
                <a:moveTo>
                  <a:pt x="3270" y="1872"/>
                </a:moveTo>
                <a:cubicBezTo>
                  <a:pt x="3220" y="1872"/>
                  <a:pt x="3173" y="1853"/>
                  <a:pt x="3137" y="1817"/>
                </a:cubicBezTo>
                <a:lnTo>
                  <a:pt x="2679" y="1358"/>
                </a:lnTo>
                <a:cubicBezTo>
                  <a:pt x="2606" y="1285"/>
                  <a:pt x="2605" y="1167"/>
                  <a:pt x="2677" y="1096"/>
                </a:cubicBezTo>
                <a:cubicBezTo>
                  <a:pt x="2711" y="1061"/>
                  <a:pt x="2757" y="1042"/>
                  <a:pt x="2806" y="1042"/>
                </a:cubicBezTo>
                <a:cubicBezTo>
                  <a:pt x="2856" y="1042"/>
                  <a:pt x="2903" y="1062"/>
                  <a:pt x="2939" y="1098"/>
                </a:cubicBezTo>
                <a:lnTo>
                  <a:pt x="3397" y="1557"/>
                </a:lnTo>
                <a:cubicBezTo>
                  <a:pt x="3432" y="1592"/>
                  <a:pt x="3452" y="1639"/>
                  <a:pt x="3452" y="1688"/>
                </a:cubicBezTo>
                <a:cubicBezTo>
                  <a:pt x="3453" y="1738"/>
                  <a:pt x="3434" y="1784"/>
                  <a:pt x="3399" y="1819"/>
                </a:cubicBezTo>
                <a:cubicBezTo>
                  <a:pt x="3365" y="1854"/>
                  <a:pt x="3319" y="1872"/>
                  <a:pt x="3270" y="1872"/>
                </a:cubicBezTo>
                <a:lnTo>
                  <a:pt x="3270" y="1872"/>
                </a:lnTo>
                <a:close/>
                <a:moveTo>
                  <a:pt x="1787" y="1872"/>
                </a:moveTo>
                <a:cubicBezTo>
                  <a:pt x="1739" y="1872"/>
                  <a:pt x="1693" y="1854"/>
                  <a:pt x="1658" y="1819"/>
                </a:cubicBezTo>
                <a:cubicBezTo>
                  <a:pt x="1624" y="1784"/>
                  <a:pt x="1605" y="1738"/>
                  <a:pt x="1605" y="1688"/>
                </a:cubicBezTo>
                <a:cubicBezTo>
                  <a:pt x="1605" y="1639"/>
                  <a:pt x="1625" y="1592"/>
                  <a:pt x="1660" y="1557"/>
                </a:cubicBezTo>
                <a:lnTo>
                  <a:pt x="2119" y="1098"/>
                </a:lnTo>
                <a:cubicBezTo>
                  <a:pt x="2154" y="1062"/>
                  <a:pt x="2202" y="1042"/>
                  <a:pt x="2252" y="1042"/>
                </a:cubicBezTo>
                <a:cubicBezTo>
                  <a:pt x="2300" y="1042"/>
                  <a:pt x="2346" y="1061"/>
                  <a:pt x="2381" y="1096"/>
                </a:cubicBezTo>
                <a:cubicBezTo>
                  <a:pt x="2452" y="1167"/>
                  <a:pt x="2451" y="1285"/>
                  <a:pt x="2379" y="1358"/>
                </a:cubicBezTo>
                <a:lnTo>
                  <a:pt x="1920" y="1817"/>
                </a:lnTo>
                <a:cubicBezTo>
                  <a:pt x="1885" y="1853"/>
                  <a:pt x="1837" y="1872"/>
                  <a:pt x="1787" y="1872"/>
                </a:cubicBezTo>
                <a:cubicBezTo>
                  <a:pt x="1787" y="1872"/>
                  <a:pt x="1787" y="1872"/>
                  <a:pt x="1787" y="1872"/>
                </a:cubicBezTo>
                <a:close/>
                <a:moveTo>
                  <a:pt x="196" y="1857"/>
                </a:moveTo>
                <a:cubicBezTo>
                  <a:pt x="87" y="1857"/>
                  <a:pt x="0" y="1771"/>
                  <a:pt x="0" y="1662"/>
                </a:cubicBezTo>
                <a:lnTo>
                  <a:pt x="0" y="211"/>
                </a:lnTo>
                <a:cubicBezTo>
                  <a:pt x="0" y="102"/>
                  <a:pt x="87" y="16"/>
                  <a:pt x="196" y="16"/>
                </a:cubicBezTo>
                <a:lnTo>
                  <a:pt x="1219" y="16"/>
                </a:lnTo>
                <a:cubicBezTo>
                  <a:pt x="1313" y="16"/>
                  <a:pt x="1390" y="92"/>
                  <a:pt x="1390" y="185"/>
                </a:cubicBezTo>
                <a:cubicBezTo>
                  <a:pt x="1390" y="278"/>
                  <a:pt x="1313" y="354"/>
                  <a:pt x="1219" y="354"/>
                </a:cubicBezTo>
                <a:lnTo>
                  <a:pt x="372" y="354"/>
                </a:lnTo>
                <a:lnTo>
                  <a:pt x="372" y="1518"/>
                </a:lnTo>
                <a:lnTo>
                  <a:pt x="1232" y="1518"/>
                </a:lnTo>
                <a:cubicBezTo>
                  <a:pt x="1327" y="1518"/>
                  <a:pt x="1404" y="1594"/>
                  <a:pt x="1404" y="1688"/>
                </a:cubicBezTo>
                <a:cubicBezTo>
                  <a:pt x="1404" y="1781"/>
                  <a:pt x="1327" y="1857"/>
                  <a:pt x="1232" y="1857"/>
                </a:cubicBezTo>
                <a:lnTo>
                  <a:pt x="196" y="1857"/>
                </a:lnTo>
                <a:close/>
                <a:moveTo>
                  <a:pt x="590" y="1099"/>
                </a:moveTo>
                <a:lnTo>
                  <a:pt x="590" y="761"/>
                </a:lnTo>
                <a:lnTo>
                  <a:pt x="1628" y="761"/>
                </a:lnTo>
                <a:cubicBezTo>
                  <a:pt x="1723" y="761"/>
                  <a:pt x="1800" y="837"/>
                  <a:pt x="1800" y="930"/>
                </a:cubicBezTo>
                <a:cubicBezTo>
                  <a:pt x="1800" y="1023"/>
                  <a:pt x="1723" y="1099"/>
                  <a:pt x="1628" y="1099"/>
                </a:cubicBezTo>
                <a:lnTo>
                  <a:pt x="590" y="1099"/>
                </a:lnTo>
                <a:close/>
                <a:moveTo>
                  <a:pt x="2806" y="831"/>
                </a:moveTo>
                <a:cubicBezTo>
                  <a:pt x="2757" y="831"/>
                  <a:pt x="2711" y="812"/>
                  <a:pt x="2677" y="777"/>
                </a:cubicBezTo>
                <a:cubicBezTo>
                  <a:pt x="2605" y="706"/>
                  <a:pt x="2606" y="588"/>
                  <a:pt x="2679" y="515"/>
                </a:cubicBezTo>
                <a:lnTo>
                  <a:pt x="3137" y="56"/>
                </a:lnTo>
                <a:cubicBezTo>
                  <a:pt x="3173" y="20"/>
                  <a:pt x="3220" y="0"/>
                  <a:pt x="3270" y="0"/>
                </a:cubicBezTo>
                <a:cubicBezTo>
                  <a:pt x="3319" y="0"/>
                  <a:pt x="3365" y="19"/>
                  <a:pt x="3399" y="54"/>
                </a:cubicBezTo>
                <a:cubicBezTo>
                  <a:pt x="3471" y="126"/>
                  <a:pt x="3470" y="243"/>
                  <a:pt x="3397" y="316"/>
                </a:cubicBezTo>
                <a:lnTo>
                  <a:pt x="2939" y="775"/>
                </a:lnTo>
                <a:cubicBezTo>
                  <a:pt x="2903" y="811"/>
                  <a:pt x="2856" y="831"/>
                  <a:pt x="2806" y="831"/>
                </a:cubicBezTo>
                <a:close/>
                <a:moveTo>
                  <a:pt x="2252" y="831"/>
                </a:moveTo>
                <a:cubicBezTo>
                  <a:pt x="2202" y="831"/>
                  <a:pt x="2154" y="811"/>
                  <a:pt x="2119" y="775"/>
                </a:cubicBezTo>
                <a:lnTo>
                  <a:pt x="1660" y="316"/>
                </a:lnTo>
                <a:cubicBezTo>
                  <a:pt x="1588" y="243"/>
                  <a:pt x="1587" y="126"/>
                  <a:pt x="1658" y="54"/>
                </a:cubicBezTo>
                <a:cubicBezTo>
                  <a:pt x="1693" y="19"/>
                  <a:pt x="1739" y="0"/>
                  <a:pt x="1787" y="0"/>
                </a:cubicBezTo>
                <a:cubicBezTo>
                  <a:pt x="1837" y="0"/>
                  <a:pt x="1885" y="20"/>
                  <a:pt x="1920" y="56"/>
                </a:cubicBezTo>
                <a:lnTo>
                  <a:pt x="2379" y="515"/>
                </a:lnTo>
                <a:cubicBezTo>
                  <a:pt x="2451" y="588"/>
                  <a:pt x="2452" y="706"/>
                  <a:pt x="2381" y="777"/>
                </a:cubicBezTo>
                <a:cubicBezTo>
                  <a:pt x="2346" y="812"/>
                  <a:pt x="2300" y="831"/>
                  <a:pt x="2252" y="831"/>
                </a:cubicBezTo>
                <a:lnTo>
                  <a:pt x="2252" y="831"/>
                </a:lnTo>
                <a:close/>
              </a:path>
            </a:pathLst>
          </a:custGeom>
          <a:solidFill>
            <a:srgbClr val="20175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US" dirty="0"/>
          </a:p>
        </p:txBody>
      </p:sp>
      <p:sp>
        <p:nvSpPr>
          <p:cNvPr id="2" name="Titel 1">
            <a:extLst>
              <a:ext uri="{FF2B5EF4-FFF2-40B4-BE49-F238E27FC236}">
                <a16:creationId xmlns:a16="http://schemas.microsoft.com/office/drawing/2014/main" id="{0DFFA6D0-AB8A-4F44-9727-A1CE86F10CC6}"/>
              </a:ext>
            </a:extLst>
          </p:cNvPr>
          <p:cNvSpPr>
            <a:spLocks noGrp="1"/>
          </p:cNvSpPr>
          <p:nvPr>
            <p:ph type="title" hasCustomPrompt="1"/>
          </p:nvPr>
        </p:nvSpPr>
        <p:spPr bwMode="gray">
          <a:xfrm>
            <a:off x="1566774" y="1923421"/>
            <a:ext cx="5256213" cy="1325559"/>
          </a:xfrm>
        </p:spPr>
        <p:txBody>
          <a:bodyPr vert="horz"/>
          <a:lstStyle>
            <a:lvl1pPr rtl="0">
              <a:lnSpc>
                <a:spcPct val="100000"/>
              </a:lnSpc>
              <a:defRPr sz="3800" b="1">
                <a:solidFill>
                  <a:schemeClr val="bg1"/>
                </a:solidFill>
              </a:defRPr>
            </a:lvl1pPr>
          </a:lstStyle>
          <a:p>
            <a:r>
              <a:rPr lang="en-US" noProof="0" dirty="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512168"/>
          </a:xfrm>
        </p:spPr>
        <p:txBody>
          <a:bodyPr/>
          <a:lstStyle>
            <a:lvl1pPr marL="0" indent="0" rtl="0">
              <a:lnSpc>
                <a:spcPct val="100000"/>
              </a:lnSpc>
              <a:buNone/>
              <a:defRPr sz="10400" b="1">
                <a:solidFill>
                  <a:schemeClr val="tx2"/>
                </a:solidFill>
              </a:defRPr>
            </a:lvl1pPr>
          </a:lstStyle>
          <a:p>
            <a:pPr lvl="0"/>
            <a:r>
              <a:rPr lang="en-US" noProof="0" dirty="0"/>
              <a:t>0</a:t>
            </a:r>
          </a:p>
        </p:txBody>
      </p:sp>
      <p:sp>
        <p:nvSpPr>
          <p:cNvPr id="4" name="Datumsplatzhalter 3">
            <a:extLst>
              <a:ext uri="{FF2B5EF4-FFF2-40B4-BE49-F238E27FC236}">
                <a16:creationId xmlns:a16="http://schemas.microsoft.com/office/drawing/2014/main" id="{80340F58-28D3-41A4-93C0-B550F7BAFC48}"/>
              </a:ext>
            </a:extLst>
          </p:cNvPr>
          <p:cNvSpPr>
            <a:spLocks noGrp="1"/>
          </p:cNvSpPr>
          <p:nvPr>
            <p:ph type="dt" sz="half" idx="11"/>
          </p:nvPr>
        </p:nvSpPr>
        <p:spPr bwMode="gray"/>
        <p:txBody>
          <a:bodyPr/>
          <a:lstStyle>
            <a:lvl1pPr rtl="0">
              <a:defRPr>
                <a:solidFill>
                  <a:schemeClr val="bg1"/>
                </a:solidFill>
              </a:defRPr>
            </a:lvl1pPr>
          </a:lstStyle>
          <a:p>
            <a:fld id="{ABF0EDB7-A43A-4EEE-BCC2-6B6BE4CB0D4A}" type="datetime1">
              <a:rPr lang="en-US"/>
              <a:t>1/16/2022</a:t>
            </a:fld>
            <a:endParaRPr lang="en-US" dirty="0"/>
          </a:p>
        </p:txBody>
      </p:sp>
      <p:sp>
        <p:nvSpPr>
          <p:cNvPr id="5" name="Foliennummernplatzhalter 4">
            <a:extLst>
              <a:ext uri="{FF2B5EF4-FFF2-40B4-BE49-F238E27FC236}">
                <a16:creationId xmlns:a16="http://schemas.microsoft.com/office/drawing/2014/main" id="{17D8599A-CBD4-4BCE-90EB-575D8BF042DE}"/>
              </a:ext>
            </a:extLst>
          </p:cNvPr>
          <p:cNvSpPr>
            <a:spLocks noGrp="1"/>
          </p:cNvSpPr>
          <p:nvPr>
            <p:ph type="sldNum" sz="quarter" idx="12"/>
          </p:nvPr>
        </p:nvSpPr>
        <p:spPr bwMode="gray"/>
        <p:txBody>
          <a:bodyPr/>
          <a:lstStyle>
            <a:lvl1pPr rtl="0">
              <a:defRPr>
                <a:solidFill>
                  <a:schemeClr val="bg1"/>
                </a:solidFill>
              </a:defRPr>
            </a:lvl1pPr>
          </a:lstStyle>
          <a:p>
            <a:fld id="{62CB3E74-FC4B-418A-B5F6-72ED80208EB2}" type="slidenum">
              <a:rPr lang="en-US"/>
              <a:pPr/>
              <a:t>‹#›</a:t>
            </a:fld>
            <a:endParaRPr lang="en-US" dirty="0"/>
          </a:p>
        </p:txBody>
      </p:sp>
      <p:cxnSp>
        <p:nvCxnSpPr>
          <p:cNvPr id="7" name="Gerader Verbinder 6">
            <a:extLst>
              <a:ext uri="{FF2B5EF4-FFF2-40B4-BE49-F238E27FC236}">
                <a16:creationId xmlns:a16="http://schemas.microsoft.com/office/drawing/2014/main" id="{AE679F24-A1D8-418A-ACCC-0E990D5357C8}"/>
              </a:ext>
            </a:extLst>
          </p:cNvPr>
          <p:cNvCxnSpPr>
            <a:cxnSpLocks/>
          </p:cNvCxnSpPr>
          <p:nvPr/>
        </p:nvCxnSpPr>
        <p:spPr bwMode="gray">
          <a:xfrm>
            <a:off x="10804526" y="0"/>
            <a:ext cx="80962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1793711"/>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eparator | Pictur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BAA9239-34B8-4530-8FBC-5AF608CE18FF}"/>
              </a:ext>
            </a:extLst>
          </p:cNvPr>
          <p:cNvGraphicFramePr>
            <a:graphicFrameLocks noChangeAspect="1"/>
          </p:cNvGraphicFramePr>
          <p:nvPr userDrawn="1">
            <p:custDataLst>
              <p:tags r:id="rId2"/>
            </p:custDataLst>
            <p:extLst>
              <p:ext uri="{D42A27DB-BD31-4B8C-83A1-F6EECF244321}">
                <p14:modId xmlns:p14="http://schemas.microsoft.com/office/powerpoint/2010/main" val="308042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17" name="think-cell Folie" r:id="rId4" imgW="359" imgH="358" progId="TCLayout.ActiveDocument.1">
                  <p:embed/>
                </p:oleObj>
              </mc:Choice>
              <mc:Fallback>
                <p:oleObj name="think-cell Folie" r:id="rId4" imgW="359" imgH="358" progId="TCLayout.ActiveDocument.1">
                  <p:embed/>
                  <p:pic>
                    <p:nvPicPr>
                      <p:cNvPr id="7" name="Objekt 6" hidden="1">
                        <a:extLst>
                          <a:ext uri="{FF2B5EF4-FFF2-40B4-BE49-F238E27FC236}">
                            <a16:creationId xmlns:a16="http://schemas.microsoft.com/office/drawing/2014/main" id="{EBAA9239-34B8-4530-8FBC-5AF608CE18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999A5F30-8249-4711-9667-08E40069354A}"/>
              </a:ext>
            </a:extLst>
          </p:cNvPr>
          <p:cNvSpPr/>
          <p:nvPr/>
        </p:nvSpPr>
        <p:spPr bwMode="gray">
          <a:xfrm>
            <a:off x="0" y="0"/>
            <a:ext cx="12192000" cy="6857997"/>
          </a:xfrm>
          <a:prstGeom prst="rect">
            <a:avLst/>
          </a:prstGeom>
          <a:noFill/>
          <a:ln>
            <a:solidFill>
              <a:srgbClr val="666666"/>
            </a:solid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rtl="0"/>
            <a:endParaRPr lang="en-US" sz="1400" dirty="0"/>
          </a:p>
        </p:txBody>
      </p:sp>
      <p:sp>
        <p:nvSpPr>
          <p:cNvPr id="12" name="Bildplatzhalter 11">
            <a:extLst>
              <a:ext uri="{FF2B5EF4-FFF2-40B4-BE49-F238E27FC236}">
                <a16:creationId xmlns:a16="http://schemas.microsoft.com/office/drawing/2014/main" id="{9D70090B-04B5-4477-82BA-72CEE4E3EBC1}"/>
              </a:ext>
            </a:extLst>
          </p:cNvPr>
          <p:cNvSpPr>
            <a:spLocks noGrp="1"/>
          </p:cNvSpPr>
          <p:nvPr>
            <p:ph type="pic" sz="quarter" idx="13"/>
          </p:nvPr>
        </p:nvSpPr>
        <p:spPr bwMode="gray">
          <a:xfrm>
            <a:off x="2" y="0"/>
            <a:ext cx="12191993" cy="6857997"/>
          </a:xfrm>
          <a:custGeom>
            <a:avLst/>
            <a:gdLst>
              <a:gd name="connsiteX0" fmla="*/ 871218 w 12191993"/>
              <a:gd name="connsiteY0" fmla="*/ 6401826 h 6857997"/>
              <a:gd name="connsiteX1" fmla="*/ 889814 w 12191993"/>
              <a:gd name="connsiteY1" fmla="*/ 6401826 h 6857997"/>
              <a:gd name="connsiteX2" fmla="*/ 911004 w 12191993"/>
              <a:gd name="connsiteY2" fmla="*/ 6419388 h 6857997"/>
              <a:gd name="connsiteX3" fmla="*/ 890349 w 12191993"/>
              <a:gd name="connsiteY3" fmla="*/ 6436783 h 6857997"/>
              <a:gd name="connsiteX4" fmla="*/ 871218 w 12191993"/>
              <a:gd name="connsiteY4" fmla="*/ 6436783 h 6857997"/>
              <a:gd name="connsiteX5" fmla="*/ 975760 w 12191993"/>
              <a:gd name="connsiteY5" fmla="*/ 6377645 h 6857997"/>
              <a:gd name="connsiteX6" fmla="*/ 962289 w 12191993"/>
              <a:gd name="connsiteY6" fmla="*/ 6391032 h 6857997"/>
              <a:gd name="connsiteX7" fmla="*/ 962289 w 12191993"/>
              <a:gd name="connsiteY7" fmla="*/ 6486023 h 6857997"/>
              <a:gd name="connsiteX8" fmla="*/ 975760 w 12191993"/>
              <a:gd name="connsiteY8" fmla="*/ 6499422 h 6857997"/>
              <a:gd name="connsiteX9" fmla="*/ 1044552 w 12191993"/>
              <a:gd name="connsiteY9" fmla="*/ 6499422 h 6857997"/>
              <a:gd name="connsiteX10" fmla="*/ 1056631 w 12191993"/>
              <a:gd name="connsiteY10" fmla="*/ 6487591 h 6857997"/>
              <a:gd name="connsiteX11" fmla="*/ 1044552 w 12191993"/>
              <a:gd name="connsiteY11" fmla="*/ 6475597 h 6857997"/>
              <a:gd name="connsiteX12" fmla="*/ 989061 w 12191993"/>
              <a:gd name="connsiteY12" fmla="*/ 6475597 h 6857997"/>
              <a:gd name="connsiteX13" fmla="*/ 989061 w 12191993"/>
              <a:gd name="connsiteY13" fmla="*/ 6450011 h 6857997"/>
              <a:gd name="connsiteX14" fmla="*/ 1035792 w 12191993"/>
              <a:gd name="connsiteY14" fmla="*/ 6450011 h 6857997"/>
              <a:gd name="connsiteX15" fmla="*/ 1047871 w 12191993"/>
              <a:gd name="connsiteY15" fmla="*/ 6438180 h 6857997"/>
              <a:gd name="connsiteX16" fmla="*/ 1035792 w 12191993"/>
              <a:gd name="connsiteY16" fmla="*/ 6426174 h 6857997"/>
              <a:gd name="connsiteX17" fmla="*/ 989061 w 12191993"/>
              <a:gd name="connsiteY17" fmla="*/ 6426174 h 6857997"/>
              <a:gd name="connsiteX18" fmla="*/ 989061 w 12191993"/>
              <a:gd name="connsiteY18" fmla="*/ 6401483 h 6857997"/>
              <a:gd name="connsiteX19" fmla="*/ 1043677 w 12191993"/>
              <a:gd name="connsiteY19" fmla="*/ 6401483 h 6857997"/>
              <a:gd name="connsiteX20" fmla="*/ 1055752 w 12191993"/>
              <a:gd name="connsiteY20" fmla="*/ 6389642 h 6857997"/>
              <a:gd name="connsiteX21" fmla="*/ 1043677 w 12191993"/>
              <a:gd name="connsiteY21" fmla="*/ 6377645 h 6857997"/>
              <a:gd name="connsiteX22" fmla="*/ 857741 w 12191993"/>
              <a:gd name="connsiteY22" fmla="*/ 6377645 h 6857997"/>
              <a:gd name="connsiteX23" fmla="*/ 844260 w 12191993"/>
              <a:gd name="connsiteY23" fmla="*/ 6391032 h 6857997"/>
              <a:gd name="connsiteX24" fmla="*/ 844260 w 12191993"/>
              <a:gd name="connsiteY24" fmla="*/ 6487068 h 6857997"/>
              <a:gd name="connsiteX25" fmla="*/ 857741 w 12191993"/>
              <a:gd name="connsiteY25" fmla="*/ 6500453 h 6857997"/>
              <a:gd name="connsiteX26" fmla="*/ 871218 w 12191993"/>
              <a:gd name="connsiteY26" fmla="*/ 6487068 h 6857997"/>
              <a:gd name="connsiteX27" fmla="*/ 871218 w 12191993"/>
              <a:gd name="connsiteY27" fmla="*/ 6460454 h 6857997"/>
              <a:gd name="connsiteX28" fmla="*/ 888658 w 12191993"/>
              <a:gd name="connsiteY28" fmla="*/ 6460454 h 6857997"/>
              <a:gd name="connsiteX29" fmla="*/ 916283 w 12191993"/>
              <a:gd name="connsiteY29" fmla="*/ 6493518 h 6857997"/>
              <a:gd name="connsiteX30" fmla="*/ 929577 w 12191993"/>
              <a:gd name="connsiteY30" fmla="*/ 6500453 h 6857997"/>
              <a:gd name="connsiteX31" fmla="*/ 942357 w 12191993"/>
              <a:gd name="connsiteY31" fmla="*/ 6488115 h 6857997"/>
              <a:gd name="connsiteX32" fmla="*/ 937985 w 12191993"/>
              <a:gd name="connsiteY32" fmla="*/ 6477858 h 6857997"/>
              <a:gd name="connsiteX33" fmla="*/ 917888 w 12191993"/>
              <a:gd name="connsiteY33" fmla="*/ 6455227 h 6857997"/>
              <a:gd name="connsiteX34" fmla="*/ 939671 w 12191993"/>
              <a:gd name="connsiteY34" fmla="*/ 6417708 h 6857997"/>
              <a:gd name="connsiteX35" fmla="*/ 927809 w 12191993"/>
              <a:gd name="connsiteY35" fmla="*/ 6389982 h 6857997"/>
              <a:gd name="connsiteX36" fmla="*/ 892095 w 12191993"/>
              <a:gd name="connsiteY36" fmla="*/ 6377645 h 6857997"/>
              <a:gd name="connsiteX37" fmla="*/ 614675 w 12191993"/>
              <a:gd name="connsiteY37" fmla="*/ 6377645 h 6857997"/>
              <a:gd name="connsiteX38" fmla="*/ 601199 w 12191993"/>
              <a:gd name="connsiteY38" fmla="*/ 6391032 h 6857997"/>
              <a:gd name="connsiteX39" fmla="*/ 601199 w 12191993"/>
              <a:gd name="connsiteY39" fmla="*/ 6486023 h 6857997"/>
              <a:gd name="connsiteX40" fmla="*/ 614675 w 12191993"/>
              <a:gd name="connsiteY40" fmla="*/ 6499422 h 6857997"/>
              <a:gd name="connsiteX41" fmla="*/ 683465 w 12191993"/>
              <a:gd name="connsiteY41" fmla="*/ 6499422 h 6857997"/>
              <a:gd name="connsiteX42" fmla="*/ 695551 w 12191993"/>
              <a:gd name="connsiteY42" fmla="*/ 6487591 h 6857997"/>
              <a:gd name="connsiteX43" fmla="*/ 683465 w 12191993"/>
              <a:gd name="connsiteY43" fmla="*/ 6475597 h 6857997"/>
              <a:gd name="connsiteX44" fmla="*/ 627985 w 12191993"/>
              <a:gd name="connsiteY44" fmla="*/ 6475597 h 6857997"/>
              <a:gd name="connsiteX45" fmla="*/ 627985 w 12191993"/>
              <a:gd name="connsiteY45" fmla="*/ 6450011 h 6857997"/>
              <a:gd name="connsiteX46" fmla="*/ 674718 w 12191993"/>
              <a:gd name="connsiteY46" fmla="*/ 6450011 h 6857997"/>
              <a:gd name="connsiteX47" fmla="*/ 686799 w 12191993"/>
              <a:gd name="connsiteY47" fmla="*/ 6438180 h 6857997"/>
              <a:gd name="connsiteX48" fmla="*/ 674718 w 12191993"/>
              <a:gd name="connsiteY48" fmla="*/ 6426174 h 6857997"/>
              <a:gd name="connsiteX49" fmla="*/ 627985 w 12191993"/>
              <a:gd name="connsiteY49" fmla="*/ 6426174 h 6857997"/>
              <a:gd name="connsiteX50" fmla="*/ 627985 w 12191993"/>
              <a:gd name="connsiteY50" fmla="*/ 6401483 h 6857997"/>
              <a:gd name="connsiteX51" fmla="*/ 682594 w 12191993"/>
              <a:gd name="connsiteY51" fmla="*/ 6401483 h 6857997"/>
              <a:gd name="connsiteX52" fmla="*/ 694674 w 12191993"/>
              <a:gd name="connsiteY52" fmla="*/ 6389642 h 6857997"/>
              <a:gd name="connsiteX53" fmla="*/ 682594 w 12191993"/>
              <a:gd name="connsiteY53" fmla="*/ 6377645 h 6857997"/>
              <a:gd name="connsiteX54" fmla="*/ 1084032 w 12191993"/>
              <a:gd name="connsiteY54" fmla="*/ 6376596 h 6857997"/>
              <a:gd name="connsiteX55" fmla="*/ 1070728 w 12191993"/>
              <a:gd name="connsiteY55" fmla="*/ 6389815 h 6857997"/>
              <a:gd name="connsiteX56" fmla="*/ 1074752 w 12191993"/>
              <a:gd name="connsiteY56" fmla="*/ 6399743 h 6857997"/>
              <a:gd name="connsiteX57" fmla="*/ 1105916 w 12191993"/>
              <a:gd name="connsiteY57" fmla="*/ 6437490 h 6857997"/>
              <a:gd name="connsiteX58" fmla="*/ 1072832 w 12191993"/>
              <a:gd name="connsiteY58" fmla="*/ 6477859 h 6857997"/>
              <a:gd name="connsiteX59" fmla="*/ 1068804 w 12191993"/>
              <a:gd name="connsiteY59" fmla="*/ 6488116 h 6857997"/>
              <a:gd name="connsiteX60" fmla="*/ 1081058 w 12191993"/>
              <a:gd name="connsiteY60" fmla="*/ 6500453 h 6857997"/>
              <a:gd name="connsiteX61" fmla="*/ 1094178 w 12191993"/>
              <a:gd name="connsiteY61" fmla="*/ 6493158 h 6857997"/>
              <a:gd name="connsiteX62" fmla="*/ 1122547 w 12191993"/>
              <a:gd name="connsiteY62" fmla="*/ 6456446 h 6857997"/>
              <a:gd name="connsiteX63" fmla="*/ 1151245 w 12191993"/>
              <a:gd name="connsiteY63" fmla="*/ 6493840 h 6857997"/>
              <a:gd name="connsiteX64" fmla="*/ 1163682 w 12191993"/>
              <a:gd name="connsiteY64" fmla="*/ 6500453 h 6857997"/>
              <a:gd name="connsiteX65" fmla="*/ 1176985 w 12191993"/>
              <a:gd name="connsiteY65" fmla="*/ 6487245 h 6857997"/>
              <a:gd name="connsiteX66" fmla="*/ 1172953 w 12191993"/>
              <a:gd name="connsiteY66" fmla="*/ 6477326 h 6857997"/>
              <a:gd name="connsiteX67" fmla="*/ 1140045 w 12191993"/>
              <a:gd name="connsiteY67" fmla="*/ 6437142 h 6857997"/>
              <a:gd name="connsiteX68" fmla="*/ 1171204 w 12191993"/>
              <a:gd name="connsiteY68" fmla="*/ 6399218 h 6857997"/>
              <a:gd name="connsiteX69" fmla="*/ 1175232 w 12191993"/>
              <a:gd name="connsiteY69" fmla="*/ 6388948 h 6857997"/>
              <a:gd name="connsiteX70" fmla="*/ 1162974 w 12191993"/>
              <a:gd name="connsiteY70" fmla="*/ 6376596 h 6857997"/>
              <a:gd name="connsiteX71" fmla="*/ 1149854 w 12191993"/>
              <a:gd name="connsiteY71" fmla="*/ 6383906 h 6857997"/>
              <a:gd name="connsiteX72" fmla="*/ 1123242 w 12191993"/>
              <a:gd name="connsiteY72" fmla="*/ 6418698 h 6857997"/>
              <a:gd name="connsiteX73" fmla="*/ 1096461 w 12191993"/>
              <a:gd name="connsiteY73" fmla="*/ 6383214 h 6857997"/>
              <a:gd name="connsiteX74" fmla="*/ 1084032 w 12191993"/>
              <a:gd name="connsiteY74" fmla="*/ 6376596 h 6857997"/>
              <a:gd name="connsiteX75" fmla="*/ 726895 w 12191993"/>
              <a:gd name="connsiteY75" fmla="*/ 6376596 h 6857997"/>
              <a:gd name="connsiteX76" fmla="*/ 713418 w 12191993"/>
              <a:gd name="connsiteY76" fmla="*/ 6389983 h 6857997"/>
              <a:gd name="connsiteX77" fmla="*/ 713418 w 12191993"/>
              <a:gd name="connsiteY77" fmla="*/ 6447235 h 6857997"/>
              <a:gd name="connsiteX78" fmla="*/ 766460 w 12191993"/>
              <a:gd name="connsiteY78" fmla="*/ 6501335 h 6857997"/>
              <a:gd name="connsiteX79" fmla="*/ 820190 w 12191993"/>
              <a:gd name="connsiteY79" fmla="*/ 6446364 h 6857997"/>
              <a:gd name="connsiteX80" fmla="*/ 820190 w 12191993"/>
              <a:gd name="connsiteY80" fmla="*/ 6389983 h 6857997"/>
              <a:gd name="connsiteX81" fmla="*/ 806715 w 12191993"/>
              <a:gd name="connsiteY81" fmla="*/ 6376596 h 6857997"/>
              <a:gd name="connsiteX82" fmla="*/ 793233 w 12191993"/>
              <a:gd name="connsiteY82" fmla="*/ 6389983 h 6857997"/>
              <a:gd name="connsiteX83" fmla="*/ 793233 w 12191993"/>
              <a:gd name="connsiteY83" fmla="*/ 6447403 h 6857997"/>
              <a:gd name="connsiteX84" fmla="*/ 766806 w 12191993"/>
              <a:gd name="connsiteY84" fmla="*/ 6476628 h 6857997"/>
              <a:gd name="connsiteX85" fmla="*/ 740371 w 12191993"/>
              <a:gd name="connsiteY85" fmla="*/ 6446530 h 6857997"/>
              <a:gd name="connsiteX86" fmla="*/ 740371 w 12191993"/>
              <a:gd name="connsiteY86" fmla="*/ 6389983 h 6857997"/>
              <a:gd name="connsiteX87" fmla="*/ 726895 w 12191993"/>
              <a:gd name="connsiteY87" fmla="*/ 6376596 h 6857997"/>
              <a:gd name="connsiteX88" fmla="*/ 10452098 w 12191993"/>
              <a:gd name="connsiteY88" fmla="*/ 0 h 6857997"/>
              <a:gd name="connsiteX89" fmla="*/ 11999911 w 12191993"/>
              <a:gd name="connsiteY89" fmla="*/ 0 h 6857997"/>
              <a:gd name="connsiteX90" fmla="*/ 11999911 w 12191993"/>
              <a:gd name="connsiteY90" fmla="*/ 1 h 6857997"/>
              <a:gd name="connsiteX91" fmla="*/ 12191993 w 12191993"/>
              <a:gd name="connsiteY91" fmla="*/ 1 h 6857997"/>
              <a:gd name="connsiteX92" fmla="*/ 12191993 w 12191993"/>
              <a:gd name="connsiteY92" fmla="*/ 6857997 h 6857997"/>
              <a:gd name="connsiteX93" fmla="*/ 0 w 12191993"/>
              <a:gd name="connsiteY93" fmla="*/ 6857997 h 6857997"/>
              <a:gd name="connsiteX94" fmla="*/ 0 w 12191993"/>
              <a:gd name="connsiteY94" fmla="*/ 1 h 6857997"/>
              <a:gd name="connsiteX95" fmla="*/ 10452098 w 12191993"/>
              <a:gd name="connsiteY95" fmla="*/ 1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2191993" h="6857997">
                <a:moveTo>
                  <a:pt x="871218" y="6401826"/>
                </a:moveTo>
                <a:lnTo>
                  <a:pt x="889814" y="6401826"/>
                </a:lnTo>
                <a:cubicBezTo>
                  <a:pt x="902950" y="6401826"/>
                  <a:pt x="911004" y="6407683"/>
                  <a:pt x="911004" y="6419388"/>
                </a:cubicBezTo>
                <a:cubicBezTo>
                  <a:pt x="911004" y="6429860"/>
                  <a:pt x="903474" y="6436783"/>
                  <a:pt x="890349" y="6436783"/>
                </a:cubicBezTo>
                <a:lnTo>
                  <a:pt x="871218" y="6436783"/>
                </a:lnTo>
                <a:close/>
                <a:moveTo>
                  <a:pt x="975760" y="6377645"/>
                </a:moveTo>
                <a:cubicBezTo>
                  <a:pt x="968236" y="6377645"/>
                  <a:pt x="962289" y="6383553"/>
                  <a:pt x="962289" y="6391032"/>
                </a:cubicBezTo>
                <a:lnTo>
                  <a:pt x="962289" y="6486023"/>
                </a:lnTo>
                <a:cubicBezTo>
                  <a:pt x="962289" y="6493518"/>
                  <a:pt x="968236" y="6499422"/>
                  <a:pt x="975760" y="6499422"/>
                </a:cubicBezTo>
                <a:lnTo>
                  <a:pt x="1044552" y="6499422"/>
                </a:lnTo>
                <a:cubicBezTo>
                  <a:pt x="1051203" y="6499422"/>
                  <a:pt x="1056631" y="6494204"/>
                  <a:pt x="1056631" y="6487591"/>
                </a:cubicBezTo>
                <a:cubicBezTo>
                  <a:pt x="1056631" y="6480981"/>
                  <a:pt x="1051203" y="6475597"/>
                  <a:pt x="1044552" y="6475597"/>
                </a:cubicBezTo>
                <a:lnTo>
                  <a:pt x="989061" y="6475597"/>
                </a:lnTo>
                <a:lnTo>
                  <a:pt x="989061" y="6450011"/>
                </a:lnTo>
                <a:lnTo>
                  <a:pt x="1035792" y="6450011"/>
                </a:lnTo>
                <a:cubicBezTo>
                  <a:pt x="1042448" y="6450011"/>
                  <a:pt x="1047871" y="6444798"/>
                  <a:pt x="1047871" y="6438180"/>
                </a:cubicBezTo>
                <a:cubicBezTo>
                  <a:pt x="1047871" y="6431570"/>
                  <a:pt x="1042448" y="6426174"/>
                  <a:pt x="1035792" y="6426174"/>
                </a:cubicBezTo>
                <a:lnTo>
                  <a:pt x="989061" y="6426174"/>
                </a:lnTo>
                <a:lnTo>
                  <a:pt x="989061" y="6401483"/>
                </a:lnTo>
                <a:lnTo>
                  <a:pt x="1043677" y="6401483"/>
                </a:lnTo>
                <a:cubicBezTo>
                  <a:pt x="1050329" y="6401483"/>
                  <a:pt x="1055752" y="6396256"/>
                  <a:pt x="1055752" y="6389642"/>
                </a:cubicBezTo>
                <a:cubicBezTo>
                  <a:pt x="1055752" y="6383042"/>
                  <a:pt x="1050329" y="6377645"/>
                  <a:pt x="1043677" y="6377645"/>
                </a:cubicBezTo>
                <a:close/>
                <a:moveTo>
                  <a:pt x="857741" y="6377645"/>
                </a:moveTo>
                <a:cubicBezTo>
                  <a:pt x="850208" y="6377645"/>
                  <a:pt x="844260" y="6383553"/>
                  <a:pt x="844260" y="6391032"/>
                </a:cubicBezTo>
                <a:lnTo>
                  <a:pt x="844260" y="6487068"/>
                </a:lnTo>
                <a:cubicBezTo>
                  <a:pt x="844260" y="6494548"/>
                  <a:pt x="850208" y="6500453"/>
                  <a:pt x="857741" y="6500453"/>
                </a:cubicBezTo>
                <a:cubicBezTo>
                  <a:pt x="865270" y="6500453"/>
                  <a:pt x="871218" y="6494549"/>
                  <a:pt x="871218" y="6487068"/>
                </a:cubicBezTo>
                <a:lnTo>
                  <a:pt x="871218" y="6460454"/>
                </a:lnTo>
                <a:lnTo>
                  <a:pt x="888658" y="6460454"/>
                </a:lnTo>
                <a:lnTo>
                  <a:pt x="916283" y="6493518"/>
                </a:lnTo>
                <a:cubicBezTo>
                  <a:pt x="919431" y="6497514"/>
                  <a:pt x="923454" y="6500453"/>
                  <a:pt x="929577" y="6500453"/>
                </a:cubicBezTo>
                <a:cubicBezTo>
                  <a:pt x="936063" y="6500453"/>
                  <a:pt x="942357" y="6495598"/>
                  <a:pt x="942357" y="6488115"/>
                </a:cubicBezTo>
                <a:cubicBezTo>
                  <a:pt x="942358" y="6483938"/>
                  <a:pt x="940611" y="6481161"/>
                  <a:pt x="937985" y="6477858"/>
                </a:cubicBezTo>
                <a:lnTo>
                  <a:pt x="917888" y="6455227"/>
                </a:lnTo>
                <a:cubicBezTo>
                  <a:pt x="934131" y="6447867"/>
                  <a:pt x="939670" y="6432030"/>
                  <a:pt x="939671" y="6417708"/>
                </a:cubicBezTo>
                <a:cubicBezTo>
                  <a:pt x="939671" y="6406380"/>
                  <a:pt x="934628" y="6396781"/>
                  <a:pt x="927809" y="6389982"/>
                </a:cubicBezTo>
                <a:cubicBezTo>
                  <a:pt x="919750" y="6381999"/>
                  <a:pt x="907673" y="6377645"/>
                  <a:pt x="892095" y="6377645"/>
                </a:cubicBezTo>
                <a:close/>
                <a:moveTo>
                  <a:pt x="614675" y="6377645"/>
                </a:moveTo>
                <a:cubicBezTo>
                  <a:pt x="607146" y="6377645"/>
                  <a:pt x="601199" y="6383553"/>
                  <a:pt x="601199" y="6391032"/>
                </a:cubicBezTo>
                <a:lnTo>
                  <a:pt x="601199" y="6486023"/>
                </a:lnTo>
                <a:cubicBezTo>
                  <a:pt x="601199" y="6493518"/>
                  <a:pt x="607146" y="6499422"/>
                  <a:pt x="614675" y="6499422"/>
                </a:cubicBezTo>
                <a:lnTo>
                  <a:pt x="683465" y="6499422"/>
                </a:lnTo>
                <a:cubicBezTo>
                  <a:pt x="690116" y="6499422"/>
                  <a:pt x="695551" y="6494204"/>
                  <a:pt x="695551" y="6487591"/>
                </a:cubicBezTo>
                <a:cubicBezTo>
                  <a:pt x="695551" y="6480981"/>
                  <a:pt x="690116" y="6475597"/>
                  <a:pt x="683465" y="6475597"/>
                </a:cubicBezTo>
                <a:lnTo>
                  <a:pt x="627985" y="6475597"/>
                </a:lnTo>
                <a:lnTo>
                  <a:pt x="627985" y="6450011"/>
                </a:lnTo>
                <a:lnTo>
                  <a:pt x="674718" y="6450011"/>
                </a:lnTo>
                <a:cubicBezTo>
                  <a:pt x="681364" y="6450011"/>
                  <a:pt x="686799" y="6444798"/>
                  <a:pt x="686799" y="6438180"/>
                </a:cubicBezTo>
                <a:cubicBezTo>
                  <a:pt x="686799" y="6431570"/>
                  <a:pt x="681364" y="6426174"/>
                  <a:pt x="674718" y="6426174"/>
                </a:cubicBezTo>
                <a:lnTo>
                  <a:pt x="627985" y="6426174"/>
                </a:lnTo>
                <a:lnTo>
                  <a:pt x="627985" y="6401483"/>
                </a:lnTo>
                <a:lnTo>
                  <a:pt x="682594" y="6401483"/>
                </a:lnTo>
                <a:cubicBezTo>
                  <a:pt x="689241" y="6401483"/>
                  <a:pt x="694674" y="6396256"/>
                  <a:pt x="694674" y="6389642"/>
                </a:cubicBezTo>
                <a:cubicBezTo>
                  <a:pt x="694674" y="6383042"/>
                  <a:pt x="689241" y="6377645"/>
                  <a:pt x="682594" y="6377645"/>
                </a:cubicBezTo>
                <a:close/>
                <a:moveTo>
                  <a:pt x="1084032" y="6376596"/>
                </a:moveTo>
                <a:cubicBezTo>
                  <a:pt x="1076330" y="6376596"/>
                  <a:pt x="1070728" y="6382334"/>
                  <a:pt x="1070728" y="6389815"/>
                </a:cubicBezTo>
                <a:cubicBezTo>
                  <a:pt x="1070728" y="6393639"/>
                  <a:pt x="1072648" y="6397126"/>
                  <a:pt x="1074752" y="6399743"/>
                </a:cubicBezTo>
                <a:lnTo>
                  <a:pt x="1105916" y="6437490"/>
                </a:lnTo>
                <a:lnTo>
                  <a:pt x="1072832" y="6477859"/>
                </a:lnTo>
                <a:cubicBezTo>
                  <a:pt x="1070208" y="6481162"/>
                  <a:pt x="1068808" y="6484296"/>
                  <a:pt x="1068804" y="6488116"/>
                </a:cubicBezTo>
                <a:cubicBezTo>
                  <a:pt x="1068804" y="6495771"/>
                  <a:pt x="1075106" y="6500453"/>
                  <a:pt x="1081058" y="6500453"/>
                </a:cubicBezTo>
                <a:cubicBezTo>
                  <a:pt x="1087006" y="6500453"/>
                  <a:pt x="1090509" y="6497851"/>
                  <a:pt x="1094178" y="6493158"/>
                </a:cubicBezTo>
                <a:lnTo>
                  <a:pt x="1122547" y="6456446"/>
                </a:lnTo>
                <a:lnTo>
                  <a:pt x="1151245" y="6493840"/>
                </a:lnTo>
                <a:cubicBezTo>
                  <a:pt x="1154577" y="6498202"/>
                  <a:pt x="1157901" y="6500453"/>
                  <a:pt x="1163682" y="6500453"/>
                </a:cubicBezTo>
                <a:cubicBezTo>
                  <a:pt x="1171375" y="6500453"/>
                  <a:pt x="1176985" y="6494721"/>
                  <a:pt x="1176985" y="6487245"/>
                </a:cubicBezTo>
                <a:cubicBezTo>
                  <a:pt x="1176985" y="6483414"/>
                  <a:pt x="1175061" y="6479930"/>
                  <a:pt x="1172953" y="6477326"/>
                </a:cubicBezTo>
                <a:lnTo>
                  <a:pt x="1140045" y="6437142"/>
                </a:lnTo>
                <a:lnTo>
                  <a:pt x="1171204" y="6399218"/>
                </a:lnTo>
                <a:cubicBezTo>
                  <a:pt x="1173832" y="6395908"/>
                  <a:pt x="1175232" y="6392785"/>
                  <a:pt x="1175232" y="6388948"/>
                </a:cubicBezTo>
                <a:cubicBezTo>
                  <a:pt x="1175232" y="6381285"/>
                  <a:pt x="1168930" y="6376596"/>
                  <a:pt x="1162974" y="6376596"/>
                </a:cubicBezTo>
                <a:cubicBezTo>
                  <a:pt x="1157030" y="6376596"/>
                  <a:pt x="1153527" y="6379213"/>
                  <a:pt x="1149854" y="6383906"/>
                </a:cubicBezTo>
                <a:lnTo>
                  <a:pt x="1123242" y="6418698"/>
                </a:lnTo>
                <a:lnTo>
                  <a:pt x="1096461" y="6383214"/>
                </a:lnTo>
                <a:cubicBezTo>
                  <a:pt x="1093137" y="6378861"/>
                  <a:pt x="1089813" y="6376596"/>
                  <a:pt x="1084032" y="6376596"/>
                </a:cubicBezTo>
                <a:close/>
                <a:moveTo>
                  <a:pt x="726895" y="6376596"/>
                </a:moveTo>
                <a:cubicBezTo>
                  <a:pt x="719373" y="6376596"/>
                  <a:pt x="713418" y="6382520"/>
                  <a:pt x="713418" y="6389983"/>
                </a:cubicBezTo>
                <a:lnTo>
                  <a:pt x="713418" y="6447235"/>
                </a:lnTo>
                <a:cubicBezTo>
                  <a:pt x="713418" y="6483068"/>
                  <a:pt x="733544" y="6501335"/>
                  <a:pt x="766460" y="6501335"/>
                </a:cubicBezTo>
                <a:cubicBezTo>
                  <a:pt x="799369" y="6501335"/>
                  <a:pt x="820190" y="6483247"/>
                  <a:pt x="820190" y="6446364"/>
                </a:cubicBezTo>
                <a:lnTo>
                  <a:pt x="820190" y="6389983"/>
                </a:lnTo>
                <a:cubicBezTo>
                  <a:pt x="820190" y="6382519"/>
                  <a:pt x="814240" y="6376596"/>
                  <a:pt x="806715" y="6376596"/>
                </a:cubicBezTo>
                <a:cubicBezTo>
                  <a:pt x="799194" y="6376596"/>
                  <a:pt x="793233" y="6382520"/>
                  <a:pt x="793233" y="6389983"/>
                </a:cubicBezTo>
                <a:lnTo>
                  <a:pt x="793233" y="6447403"/>
                </a:lnTo>
                <a:cubicBezTo>
                  <a:pt x="793233" y="6466715"/>
                  <a:pt x="783258" y="6476628"/>
                  <a:pt x="766806" y="6476628"/>
                </a:cubicBezTo>
                <a:cubicBezTo>
                  <a:pt x="750357" y="6476628"/>
                  <a:pt x="740371" y="6466358"/>
                  <a:pt x="740371" y="6446530"/>
                </a:cubicBezTo>
                <a:lnTo>
                  <a:pt x="740371" y="6389983"/>
                </a:lnTo>
                <a:cubicBezTo>
                  <a:pt x="740371" y="6382519"/>
                  <a:pt x="734418" y="6376596"/>
                  <a:pt x="726895" y="6376596"/>
                </a:cubicBezTo>
                <a:close/>
                <a:moveTo>
                  <a:pt x="10452098" y="0"/>
                </a:moveTo>
                <a:lnTo>
                  <a:pt x="11999911" y="0"/>
                </a:lnTo>
                <a:lnTo>
                  <a:pt x="11999911" y="1"/>
                </a:lnTo>
                <a:lnTo>
                  <a:pt x="12191993" y="1"/>
                </a:lnTo>
                <a:lnTo>
                  <a:pt x="12191993" y="6857997"/>
                </a:lnTo>
                <a:lnTo>
                  <a:pt x="0" y="6857997"/>
                </a:lnTo>
                <a:lnTo>
                  <a:pt x="0" y="1"/>
                </a:lnTo>
                <a:lnTo>
                  <a:pt x="10452098" y="1"/>
                </a:lnTo>
                <a:close/>
              </a:path>
            </a:pathLst>
          </a:custGeom>
          <a:solidFill>
            <a:srgbClr val="666666"/>
          </a:solidFill>
          <a:ln w="0">
            <a:solidFill>
              <a:schemeClr val="accent4">
                <a:alpha val="0"/>
              </a:schemeClr>
            </a:solidFill>
          </a:ln>
        </p:spPr>
        <p:txBody>
          <a:bodyPr wrap="square" anchor="ctr">
            <a:noAutofit/>
          </a:bodyPr>
          <a:lstStyle>
            <a:lvl1pPr algn="ctr" rtl="0">
              <a:defRPr sz="1400"/>
            </a:lvl1pPr>
          </a:lstStyle>
          <a:p>
            <a:endParaRPr lang="en-US" noProof="0" dirty="0"/>
          </a:p>
        </p:txBody>
      </p:sp>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bwMode="gray">
          <a:xfrm>
            <a:off x="587375" y="2314701"/>
            <a:ext cx="7272338" cy="790263"/>
          </a:xfrm>
        </p:spPr>
        <p:txBody>
          <a:bodyPr/>
          <a:lstStyle>
            <a:lvl1pPr rtl="0">
              <a:lnSpc>
                <a:spcPct val="110000"/>
              </a:lnSpc>
              <a:spcAft>
                <a:spcPts val="0"/>
              </a:spcAft>
              <a:defRPr sz="2000" b="0">
                <a:solidFill>
                  <a:schemeClr val="bg1"/>
                </a:solidFill>
              </a:defRPr>
            </a:lvl1pPr>
            <a:lvl2pPr marL="0" indent="0" rtl="0">
              <a:lnSpc>
                <a:spcPct val="110000"/>
              </a:lnSpc>
              <a:spcAft>
                <a:spcPts val="0"/>
              </a:spcAft>
              <a:buFont typeface="Arial" panose="020B0604020202020204" pitchFamily="34" charset="0"/>
              <a:buNone/>
              <a:defRPr sz="2000" b="0">
                <a:solidFill>
                  <a:schemeClr val="bg1"/>
                </a:solidFill>
              </a:defRPr>
            </a:lvl2pPr>
            <a:lvl3pPr marL="0" indent="0">
              <a:lnSpc>
                <a:spcPct val="110000"/>
              </a:lnSpc>
              <a:spcAft>
                <a:spcPts val="0"/>
              </a:spcAft>
              <a:buNone/>
              <a:defRPr sz="2000" b="0">
                <a:solidFill>
                  <a:schemeClr val="bg1"/>
                </a:solidFill>
              </a:defRPr>
            </a:lvl3pPr>
            <a:lvl4pPr marL="0" indent="0">
              <a:lnSpc>
                <a:spcPct val="110000"/>
              </a:lnSpc>
              <a:spcAft>
                <a:spcPts val="0"/>
              </a:spcAft>
              <a:buFont typeface="Arial" panose="020B0604020202020204" pitchFamily="34" charset="0"/>
              <a:buNone/>
              <a:defRPr sz="2000" b="0">
                <a:solidFill>
                  <a:schemeClr val="bg1"/>
                </a:solidFill>
              </a:defRPr>
            </a:lvl4pPr>
            <a:lvl5pPr marL="0" indent="0">
              <a:lnSpc>
                <a:spcPct val="110000"/>
              </a:lnSpc>
              <a:spcAft>
                <a:spcPts val="0"/>
              </a:spcAft>
              <a:buNone/>
              <a:defRPr sz="2000" b="0">
                <a:solidFill>
                  <a:schemeClr val="bg1"/>
                </a:solidFill>
              </a:defRPr>
            </a:lvl5pPr>
            <a:lvl6pPr marL="0" indent="0">
              <a:lnSpc>
                <a:spcPct val="110000"/>
              </a:lnSpc>
              <a:spcAft>
                <a:spcPts val="0"/>
              </a:spcAft>
              <a:buNone/>
              <a:defRPr sz="2000" b="0">
                <a:solidFill>
                  <a:schemeClr val="bg1"/>
                </a:solidFill>
              </a:defRPr>
            </a:lvl6pPr>
            <a:lvl7pPr marL="0" indent="0">
              <a:lnSpc>
                <a:spcPct val="110000"/>
              </a:lnSpc>
              <a:spcAft>
                <a:spcPts val="0"/>
              </a:spcAft>
              <a:buFont typeface="Arial" panose="020B0604020202020204" pitchFamily="34" charset="0"/>
              <a:buNone/>
              <a:defRPr sz="2000" b="0">
                <a:solidFill>
                  <a:schemeClr val="bg1"/>
                </a:solidFill>
              </a:defRPr>
            </a:lvl7pPr>
            <a:lvl8pPr marL="0" indent="0">
              <a:lnSpc>
                <a:spcPct val="110000"/>
              </a:lnSpc>
              <a:spcAft>
                <a:spcPts val="0"/>
              </a:spcAft>
              <a:buNone/>
              <a:defRPr sz="2000" b="0">
                <a:solidFill>
                  <a:schemeClr val="bg1"/>
                </a:solidFill>
              </a:defRPr>
            </a:lvl8pPr>
            <a:lvl9pPr marL="0" indent="0">
              <a:lnSpc>
                <a:spcPct val="110000"/>
              </a:lnSpc>
              <a:spcAft>
                <a:spcPts val="0"/>
              </a:spcAft>
              <a:buNone/>
              <a:defRPr sz="2000" b="0">
                <a:solidFill>
                  <a:schemeClr val="bg1"/>
                </a:solidFill>
              </a:defRPr>
            </a:lvl9pPr>
          </a:lstStyle>
          <a:p>
            <a:pPr lvl="0"/>
            <a:r>
              <a:rPr lang="en-US" noProof="0" dirty="0"/>
              <a:t>Source</a:t>
            </a:r>
          </a:p>
          <a:p>
            <a:pPr lvl="1"/>
            <a:endParaRPr lang="en-US" noProof="0" dirty="0"/>
          </a:p>
        </p:txBody>
      </p:sp>
      <p:sp>
        <p:nvSpPr>
          <p:cNvPr id="2" name="Date Placeholder 1">
            <a:extLst>
              <a:ext uri="{FF2B5EF4-FFF2-40B4-BE49-F238E27FC236}">
                <a16:creationId xmlns:a16="http://schemas.microsoft.com/office/drawing/2014/main" id="{8C172601-F2D8-4756-9014-EE2AA98B1EF3}"/>
              </a:ext>
            </a:extLst>
          </p:cNvPr>
          <p:cNvSpPr>
            <a:spLocks noGrp="1"/>
          </p:cNvSpPr>
          <p:nvPr>
            <p:ph type="dt" sz="half" idx="17"/>
          </p:nvPr>
        </p:nvSpPr>
        <p:spPr bwMode="gray"/>
        <p:txBody>
          <a:bodyPr/>
          <a:lstStyle>
            <a:lvl1pPr rtl="0">
              <a:defRPr>
                <a:solidFill>
                  <a:schemeClr val="bg1"/>
                </a:solidFill>
              </a:defRPr>
            </a:lvl1pPr>
          </a:lstStyle>
          <a:p>
            <a:fld id="{94369DC6-CAD9-4B14-8D29-FECBF72080C9}" type="datetime1">
              <a:rPr lang="en-US"/>
              <a:t>1/16/2022</a:t>
            </a:fld>
            <a:endParaRPr lang="en-US" dirty="0"/>
          </a:p>
        </p:txBody>
      </p:sp>
      <p:sp>
        <p:nvSpPr>
          <p:cNvPr id="3" name="Slide Number Placeholder 2">
            <a:extLst>
              <a:ext uri="{FF2B5EF4-FFF2-40B4-BE49-F238E27FC236}">
                <a16:creationId xmlns:a16="http://schemas.microsoft.com/office/drawing/2014/main" id="{485843BC-3D7B-43A3-B54D-54DC4DCCD76F}"/>
              </a:ext>
            </a:extLst>
          </p:cNvPr>
          <p:cNvSpPr>
            <a:spLocks noGrp="1"/>
          </p:cNvSpPr>
          <p:nvPr>
            <p:ph type="sldNum" sz="quarter" idx="18"/>
          </p:nvPr>
        </p:nvSpPr>
        <p:spPr bwMode="gray"/>
        <p:txBody>
          <a:bodyPr/>
          <a:lstStyle>
            <a:lvl1pPr rtl="0">
              <a:defRPr>
                <a:solidFill>
                  <a:schemeClr val="bg1"/>
                </a:solidFill>
              </a:defRPr>
            </a:lvl1pPr>
          </a:lstStyle>
          <a:p>
            <a:fld id="{62CB3E74-FC4B-418A-B5F6-72ED80208EB2}" type="slidenum">
              <a:rPr lang="en-US"/>
              <a:pPr/>
              <a:t>‹#›</a:t>
            </a:fld>
            <a:endParaRPr lang="en-US" dirty="0"/>
          </a:p>
        </p:txBody>
      </p:sp>
      <p:sp>
        <p:nvSpPr>
          <p:cNvPr id="5" name="Titel 4">
            <a:extLst>
              <a:ext uri="{FF2B5EF4-FFF2-40B4-BE49-F238E27FC236}">
                <a16:creationId xmlns:a16="http://schemas.microsoft.com/office/drawing/2014/main" id="{3A860D54-D418-4404-89D5-BA046687C8C3}"/>
              </a:ext>
            </a:extLst>
          </p:cNvPr>
          <p:cNvSpPr>
            <a:spLocks noGrp="1"/>
          </p:cNvSpPr>
          <p:nvPr>
            <p:ph type="title" hasCustomPrompt="1"/>
          </p:nvPr>
        </p:nvSpPr>
        <p:spPr bwMode="gray">
          <a:xfrm>
            <a:off x="587376" y="836712"/>
            <a:ext cx="7272337" cy="1476164"/>
          </a:xfrm>
        </p:spPr>
        <p:txBody>
          <a:bodyPr vert="horz"/>
          <a:lstStyle>
            <a:lvl1pPr rtl="0">
              <a:lnSpc>
                <a:spcPct val="100000"/>
              </a:lnSpc>
              <a:defRPr sz="4300">
                <a:solidFill>
                  <a:schemeClr val="bg1"/>
                </a:solidFill>
              </a:defRPr>
            </a:lvl1pPr>
          </a:lstStyle>
          <a:p>
            <a:pPr lvl="0"/>
            <a:r>
              <a:rPr lang="en-US" noProof="0" dirty="0"/>
              <a:t>“Insert Quote (max. 43 </a:t>
            </a:r>
            <a:r>
              <a:rPr lang="en-US" noProof="0" dirty="0" err="1"/>
              <a:t>pt</a:t>
            </a:r>
            <a:r>
              <a:rPr lang="en-US" noProof="0" dirty="0"/>
              <a:t>, min 28 </a:t>
            </a:r>
            <a:r>
              <a:rPr lang="en-US" noProof="0" dirty="0" err="1"/>
              <a:t>pt</a:t>
            </a:r>
            <a:r>
              <a:rPr lang="en-US" noProof="0" dirty="0"/>
              <a:t>”</a:t>
            </a:r>
          </a:p>
        </p:txBody>
      </p:sp>
    </p:spTree>
    <p:extLst>
      <p:ext uri="{BB962C8B-B14F-4D97-AF65-F5344CB8AC3E}">
        <p14:creationId xmlns:p14="http://schemas.microsoft.com/office/powerpoint/2010/main" val="66005988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parator">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02DBC4-C0BB-4A5F-9595-2743CE037E44}"/>
              </a:ext>
            </a:extLst>
          </p:cNvPr>
          <p:cNvGraphicFramePr>
            <a:graphicFrameLocks noChangeAspect="1"/>
          </p:cNvGraphicFramePr>
          <p:nvPr userDrawn="1">
            <p:custDataLst>
              <p:tags r:id="rId2"/>
            </p:custDataLst>
            <p:extLst>
              <p:ext uri="{D42A27DB-BD31-4B8C-83A1-F6EECF244321}">
                <p14:modId xmlns:p14="http://schemas.microsoft.com/office/powerpoint/2010/main" val="3538831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41" name="think-cell Folie" r:id="rId4" imgW="359" imgH="358" progId="TCLayout.ActiveDocument.1">
                  <p:embed/>
                </p:oleObj>
              </mc:Choice>
              <mc:Fallback>
                <p:oleObj name="think-cell Folie" r:id="rId4" imgW="359" imgH="358" progId="TCLayout.ActiveDocument.1">
                  <p:embed/>
                  <p:pic>
                    <p:nvPicPr>
                      <p:cNvPr id="6" name="Objekt 5" hidden="1">
                        <a:extLst>
                          <a:ext uri="{FF2B5EF4-FFF2-40B4-BE49-F238E27FC236}">
                            <a16:creationId xmlns:a16="http://schemas.microsoft.com/office/drawing/2014/main" id="{9F02DBC4-C0BB-4A5F-9595-2743CE037E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bwMode="gray">
          <a:xfrm>
            <a:off x="587375" y="2312876"/>
            <a:ext cx="7272338" cy="792088"/>
          </a:xfrm>
        </p:spPr>
        <p:txBody>
          <a:bodyPr/>
          <a:lstStyle>
            <a:lvl1pPr rtl="0">
              <a:lnSpc>
                <a:spcPct val="100000"/>
              </a:lnSpc>
              <a:spcAft>
                <a:spcPts val="0"/>
              </a:spcAft>
              <a:defRPr sz="2000" b="0">
                <a:solidFill>
                  <a:schemeClr val="tx1"/>
                </a:solidFill>
              </a:defRPr>
            </a:lvl1pPr>
            <a:lvl2pPr marL="0" indent="0">
              <a:lnSpc>
                <a:spcPct val="100000"/>
              </a:lnSpc>
              <a:spcAft>
                <a:spcPts val="0"/>
              </a:spcAft>
              <a:buFont typeface="Arial" panose="020B0604020202020204" pitchFamily="34" charset="0"/>
              <a:buNone/>
              <a:defRPr sz="2000" b="0">
                <a:solidFill>
                  <a:schemeClr val="tx1"/>
                </a:solidFill>
              </a:defRPr>
            </a:lvl2pPr>
            <a:lvl3pPr marL="0" indent="0">
              <a:lnSpc>
                <a:spcPct val="100000"/>
              </a:lnSpc>
              <a:spcAft>
                <a:spcPts val="0"/>
              </a:spcAft>
              <a:buNone/>
              <a:defRPr sz="2000" b="0">
                <a:solidFill>
                  <a:schemeClr val="tx1"/>
                </a:solidFill>
              </a:defRPr>
            </a:lvl3pPr>
            <a:lvl4pPr marL="0" indent="0">
              <a:lnSpc>
                <a:spcPct val="100000"/>
              </a:lnSpc>
              <a:spcAft>
                <a:spcPts val="0"/>
              </a:spcAft>
              <a:buFont typeface="Arial" panose="020B0604020202020204" pitchFamily="34" charset="0"/>
              <a:buNone/>
              <a:defRPr sz="2000" b="0">
                <a:solidFill>
                  <a:schemeClr val="tx1"/>
                </a:solidFill>
              </a:defRPr>
            </a:lvl4pPr>
            <a:lvl5pPr marL="0" indent="0">
              <a:lnSpc>
                <a:spcPct val="100000"/>
              </a:lnSpc>
              <a:spcAft>
                <a:spcPts val="0"/>
              </a:spcAft>
              <a:buNone/>
              <a:defRPr sz="2000" b="0">
                <a:solidFill>
                  <a:schemeClr val="tx1"/>
                </a:solidFill>
              </a:defRPr>
            </a:lvl5pPr>
            <a:lvl6pPr marL="0" indent="0">
              <a:lnSpc>
                <a:spcPct val="100000"/>
              </a:lnSpc>
              <a:spcAft>
                <a:spcPts val="0"/>
              </a:spcAft>
              <a:buNone/>
              <a:defRPr sz="2000" b="0">
                <a:solidFill>
                  <a:schemeClr val="tx1"/>
                </a:solidFill>
              </a:defRPr>
            </a:lvl6pPr>
            <a:lvl7pPr marL="0" indent="0">
              <a:lnSpc>
                <a:spcPct val="100000"/>
              </a:lnSpc>
              <a:spcAft>
                <a:spcPts val="0"/>
              </a:spcAft>
              <a:buFont typeface="Arial" panose="020B0604020202020204" pitchFamily="34" charset="0"/>
              <a:buNone/>
              <a:defRPr sz="2000" b="0">
                <a:solidFill>
                  <a:schemeClr val="tx1"/>
                </a:solidFill>
              </a:defRPr>
            </a:lvl7pPr>
            <a:lvl8pPr marL="0" indent="0">
              <a:lnSpc>
                <a:spcPct val="100000"/>
              </a:lnSpc>
              <a:spcAft>
                <a:spcPts val="0"/>
              </a:spcAft>
              <a:buNone/>
              <a:defRPr sz="2000" b="0">
                <a:solidFill>
                  <a:schemeClr val="tx1"/>
                </a:solidFill>
              </a:defRPr>
            </a:lvl8pPr>
            <a:lvl9pPr marL="0" indent="0">
              <a:lnSpc>
                <a:spcPct val="100000"/>
              </a:lnSpc>
              <a:spcAft>
                <a:spcPts val="0"/>
              </a:spcAft>
              <a:buNone/>
              <a:defRPr sz="2000" b="0">
                <a:solidFill>
                  <a:schemeClr val="tx1"/>
                </a:solidFill>
              </a:defRPr>
            </a:lvl9pPr>
          </a:lstStyle>
          <a:p>
            <a:pPr lvl="0"/>
            <a:r>
              <a:rPr lang="en-US" noProof="0" dirty="0"/>
              <a:t>Source</a:t>
            </a:r>
          </a:p>
        </p:txBody>
      </p:sp>
      <p:sp>
        <p:nvSpPr>
          <p:cNvPr id="4" name="Date Placeholder 3">
            <a:extLst>
              <a:ext uri="{FF2B5EF4-FFF2-40B4-BE49-F238E27FC236}">
                <a16:creationId xmlns:a16="http://schemas.microsoft.com/office/drawing/2014/main" id="{0EB1BFA5-F1DE-439D-8292-1985FFB11ECB}"/>
              </a:ext>
            </a:extLst>
          </p:cNvPr>
          <p:cNvSpPr>
            <a:spLocks noGrp="1"/>
          </p:cNvSpPr>
          <p:nvPr>
            <p:ph type="dt" sz="half" idx="13"/>
          </p:nvPr>
        </p:nvSpPr>
        <p:spPr bwMode="gray"/>
        <p:txBody>
          <a:bodyPr/>
          <a:lstStyle>
            <a:lvl1pPr rtl="0">
              <a:defRPr/>
            </a:lvl1pPr>
          </a:lstStyle>
          <a:p>
            <a:fld id="{3738F95D-E335-4C4B-9869-4DDBEEE47919}" type="datetime1">
              <a:rPr lang="en-US"/>
              <a:t>1/16/2022</a:t>
            </a:fld>
            <a:endParaRPr lang="en-US" dirty="0"/>
          </a:p>
        </p:txBody>
      </p:sp>
      <p:sp>
        <p:nvSpPr>
          <p:cNvPr id="5" name="Slide Number Placeholder 4">
            <a:extLst>
              <a:ext uri="{FF2B5EF4-FFF2-40B4-BE49-F238E27FC236}">
                <a16:creationId xmlns:a16="http://schemas.microsoft.com/office/drawing/2014/main" id="{0001AB10-363B-4F98-9D35-518F027490A0}"/>
              </a:ext>
            </a:extLst>
          </p:cNvPr>
          <p:cNvSpPr>
            <a:spLocks noGrp="1"/>
          </p:cNvSpPr>
          <p:nvPr>
            <p:ph type="sldNum" sz="quarter" idx="14"/>
          </p:nvPr>
        </p:nvSpPr>
        <p:spPr bwMode="gray"/>
        <p:txBody>
          <a:bodyPr/>
          <a:lstStyle>
            <a:lvl1pPr rtl="0">
              <a:defRPr/>
            </a:lvl1pPr>
          </a:lstStyle>
          <a:p>
            <a:fld id="{62CB3E74-FC4B-418A-B5F6-72ED80208EB2}" type="slidenum">
              <a:rPr lang="en-US"/>
              <a:pPr/>
              <a:t>‹#›</a:t>
            </a:fld>
            <a:endParaRPr lang="en-US" dirty="0"/>
          </a:p>
        </p:txBody>
      </p:sp>
      <p:sp>
        <p:nvSpPr>
          <p:cNvPr id="2" name="Titel 1">
            <a:extLst>
              <a:ext uri="{FF2B5EF4-FFF2-40B4-BE49-F238E27FC236}">
                <a16:creationId xmlns:a16="http://schemas.microsoft.com/office/drawing/2014/main" id="{BA11539C-F916-47A8-B92C-3F65C504D83B}"/>
              </a:ext>
            </a:extLst>
          </p:cNvPr>
          <p:cNvSpPr>
            <a:spLocks noGrp="1"/>
          </p:cNvSpPr>
          <p:nvPr>
            <p:ph type="title" hasCustomPrompt="1"/>
          </p:nvPr>
        </p:nvSpPr>
        <p:spPr bwMode="gray">
          <a:xfrm>
            <a:off x="587376" y="836712"/>
            <a:ext cx="7272337" cy="1476164"/>
          </a:xfrm>
        </p:spPr>
        <p:txBody>
          <a:bodyPr vert="horz"/>
          <a:lstStyle>
            <a:lvl1pPr rtl="0">
              <a:lnSpc>
                <a:spcPct val="100000"/>
              </a:lnSpc>
              <a:defRPr sz="4300"/>
            </a:lvl1pPr>
          </a:lstStyle>
          <a:p>
            <a:pPr lvl="0"/>
            <a:r>
              <a:rPr lang="en-US" noProof="0" dirty="0"/>
              <a:t>“Insert Quote (max. 43 </a:t>
            </a:r>
            <a:r>
              <a:rPr lang="en-US" noProof="0" dirty="0" err="1"/>
              <a:t>pt</a:t>
            </a:r>
            <a:r>
              <a:rPr lang="en-US" noProof="0" dirty="0"/>
              <a:t>, min 28 </a:t>
            </a:r>
            <a:r>
              <a:rPr lang="en-US" noProof="0" dirty="0" err="1"/>
              <a:t>pt</a:t>
            </a:r>
            <a:r>
              <a:rPr lang="en-US" noProof="0" dirty="0"/>
              <a:t>)”</a:t>
            </a:r>
          </a:p>
        </p:txBody>
      </p:sp>
    </p:spTree>
    <p:extLst>
      <p:ext uri="{BB962C8B-B14F-4D97-AF65-F5344CB8AC3E}">
        <p14:creationId xmlns:p14="http://schemas.microsoft.com/office/powerpoint/2010/main" val="2361684524"/>
      </p:ext>
    </p:extLst>
  </p:cSld>
  <p:clrMapOvr>
    <a:masterClrMapping/>
  </p:clrMapOvr>
  <p:extLst>
    <p:ext uri="{DCECCB84-F9BA-43D5-87BE-67443E8EF086}">
      <p15:sldGuideLst xmlns:p15="http://schemas.microsoft.com/office/powerpoint/2012/main">
        <p15:guide id="1" orient="horz" pos="61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557B1BB-A668-4594-A395-648C057E4281}"/>
              </a:ext>
            </a:extLst>
          </p:cNvPr>
          <p:cNvGraphicFramePr>
            <a:graphicFrameLocks noChangeAspect="1"/>
          </p:cNvGraphicFramePr>
          <p:nvPr userDrawn="1">
            <p:custDataLst>
              <p:tags r:id="rId2"/>
            </p:custDataLst>
            <p:extLst>
              <p:ext uri="{D42A27DB-BD31-4B8C-83A1-F6EECF244321}">
                <p14:modId xmlns:p14="http://schemas.microsoft.com/office/powerpoint/2010/main" val="2498626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5" name="think-cell Folie" r:id="rId4" imgW="359" imgH="358" progId="TCLayout.ActiveDocument.1">
                  <p:embed/>
                </p:oleObj>
              </mc:Choice>
              <mc:Fallback>
                <p:oleObj name="think-cell Folie" r:id="rId4" imgW="359" imgH="358" progId="TCLayout.ActiveDocument.1">
                  <p:embed/>
                  <p:pic>
                    <p:nvPicPr>
                      <p:cNvPr id="5" name="Objekt 4" hidden="1">
                        <a:extLst>
                          <a:ext uri="{FF2B5EF4-FFF2-40B4-BE49-F238E27FC236}">
                            <a16:creationId xmlns:a16="http://schemas.microsoft.com/office/drawing/2014/main" id="{B557B1BB-A668-4594-A395-648C057E42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vert="horz"/>
          <a:lstStyle>
            <a:lvl1pPr rtl="0">
              <a:defRPr/>
            </a:lvl1pPr>
          </a:lstStyle>
          <a:p>
            <a:r>
              <a:rPr lang="en-US" noProof="0" dirty="0"/>
              <a:t>Insert Slide Title</a:t>
            </a:r>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6" y="1916113"/>
            <a:ext cx="11017250" cy="4213225"/>
          </a:xfrm>
        </p:spPr>
        <p:txBody>
          <a:bodyPr/>
          <a:lstStyle>
            <a:lvl1pPr rtl="0">
              <a:defRPr/>
            </a:lvl1pPr>
            <a:lvl2pPr rtl="0">
              <a:defRPr/>
            </a:lvl2pPr>
            <a:lvl3pPr rtl="0">
              <a:defRPr/>
            </a:lvl3pPr>
            <a:lvl4pPr rtl="0">
              <a:defRPr/>
            </a:lvl4pPr>
            <a:lvl5pPr rtl="0">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Date Placeholder 5">
            <a:extLst>
              <a:ext uri="{FF2B5EF4-FFF2-40B4-BE49-F238E27FC236}">
                <a16:creationId xmlns:a16="http://schemas.microsoft.com/office/drawing/2014/main" id="{93FF9AC7-EBBE-4495-9469-91BA126FC731}"/>
              </a:ext>
            </a:extLst>
          </p:cNvPr>
          <p:cNvSpPr>
            <a:spLocks noGrp="1"/>
          </p:cNvSpPr>
          <p:nvPr>
            <p:ph type="dt" sz="half" idx="10"/>
          </p:nvPr>
        </p:nvSpPr>
        <p:spPr bwMode="gray"/>
        <p:txBody>
          <a:bodyPr/>
          <a:lstStyle>
            <a:lvl1pPr rtl="0">
              <a:defRPr/>
            </a:lvl1pPr>
          </a:lstStyle>
          <a:p>
            <a:fld id="{664E4E50-649A-4382-919E-7BEF182EEEDC}" type="datetime1">
              <a:rPr lang="en-US"/>
              <a:t>1/16/2022</a:t>
            </a:fld>
            <a:endParaRPr lang="en-US" dirty="0"/>
          </a:p>
        </p:txBody>
      </p:sp>
      <p:sp>
        <p:nvSpPr>
          <p:cNvPr id="7" name="Slide Number Placeholder 6">
            <a:extLst>
              <a:ext uri="{FF2B5EF4-FFF2-40B4-BE49-F238E27FC236}">
                <a16:creationId xmlns:a16="http://schemas.microsoft.com/office/drawing/2014/main" id="{82BC12CC-1E69-4455-A765-9ECE97FA3A7C}"/>
              </a:ext>
            </a:extLst>
          </p:cNvPr>
          <p:cNvSpPr>
            <a:spLocks noGrp="1"/>
          </p:cNvSpPr>
          <p:nvPr>
            <p:ph type="sldNum" sz="quarter" idx="11"/>
          </p:nvPr>
        </p:nvSpPr>
        <p:spPr bwMode="gray"/>
        <p:txBody>
          <a:bodyPr/>
          <a:lstStyle>
            <a:lvl1pPr rtl="0">
              <a:defRPr/>
            </a:lvl1pPr>
          </a:lstStyle>
          <a:p>
            <a:fld id="{62CB3E74-FC4B-418A-B5F6-72ED80208EB2}" type="slidenum">
              <a:rPr lang="en-US"/>
              <a:pPr/>
              <a:t>‹#›</a:t>
            </a:fld>
            <a:endParaRPr lang="en-US" dirty="0"/>
          </a:p>
        </p:txBody>
      </p:sp>
    </p:spTree>
    <p:extLst>
      <p:ext uri="{BB962C8B-B14F-4D97-AF65-F5344CB8AC3E}">
        <p14:creationId xmlns:p14="http://schemas.microsoft.com/office/powerpoint/2010/main" val="106975925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 Blue">
    <p:bg bwMode="auto">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p:custDataLst>
              <p:tags r:id="rId2"/>
            </p:custDataLst>
            <p:extLst>
              <p:ext uri="{D42A27DB-BD31-4B8C-83A1-F6EECF244321}">
                <p14:modId xmlns:p14="http://schemas.microsoft.com/office/powerpoint/2010/main" val="3036464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7" name="think-cell Folie" r:id="rId5" imgW="286" imgH="286" progId="TCLayout.ActiveDocument.1">
                  <p:embed/>
                </p:oleObj>
              </mc:Choice>
              <mc:Fallback>
                <p:oleObj name="think-cell Foli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US" sz="3000" b="1" i="0" baseline="0"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vert="horz" anchor="t" anchorCtr="0"/>
          <a:lstStyle>
            <a:lvl1pPr algn="l" rtl="0">
              <a:lnSpc>
                <a:spcPct val="100000"/>
              </a:lnSpc>
              <a:spcBef>
                <a:spcPts val="0"/>
              </a:spcBef>
              <a:defRPr sz="4300" b="1">
                <a:solidFill>
                  <a:schemeClr val="tx1"/>
                </a:solidFill>
              </a:defRPr>
            </a:lvl1pPr>
          </a:lstStyle>
          <a:p>
            <a:r>
              <a:rPr lang="en-US" noProof="0" dirty="0"/>
              <a:t>Presentation </a:t>
            </a:r>
            <a:br>
              <a:rPr lang="en-US" noProof="0" dirty="0"/>
            </a:br>
            <a:r>
              <a:rPr lang="en-US" noProof="0" dirty="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rtl="0">
              <a:lnSpc>
                <a:spcPct val="100000"/>
              </a:lnSpc>
              <a:spcBef>
                <a:spcPts val="0"/>
              </a:spcBef>
              <a:spcAft>
                <a:spcPts val="0"/>
              </a:spcAft>
              <a:buNone/>
              <a:defRPr sz="2400">
                <a:solidFill>
                  <a:schemeClr val="tx1"/>
                </a:solidFill>
                <a:latin typeface="+mn-lt"/>
                <a:cs typeface="Abadi MT Condensed Extra Bold"/>
              </a:defRPr>
            </a:lvl1pPr>
            <a:lvl2pPr marL="0" indent="0" algn="l">
              <a:lnSpc>
                <a:spcPct val="100000"/>
              </a:lnSpc>
              <a:spcAft>
                <a:spcPts val="0"/>
              </a:spcAft>
              <a:buNone/>
              <a:defRPr sz="2400"/>
            </a:lvl2pPr>
            <a:lvl3pPr marL="0" indent="0" algn="l">
              <a:lnSpc>
                <a:spcPct val="100000"/>
              </a:lnSpc>
              <a:spcAft>
                <a:spcPts val="0"/>
              </a:spcAft>
              <a:buNone/>
              <a:defRPr sz="2400"/>
            </a:lvl3pPr>
            <a:lvl4pPr marL="0" indent="0" algn="l">
              <a:lnSpc>
                <a:spcPct val="100000"/>
              </a:lnSpc>
              <a:spcAft>
                <a:spcPts val="0"/>
              </a:spcAft>
              <a:buNone/>
              <a:defRPr sz="2400"/>
            </a:lvl4pPr>
            <a:lvl5pPr marL="0" indent="0" algn="l">
              <a:lnSpc>
                <a:spcPct val="100000"/>
              </a:lnSpc>
              <a:spcAft>
                <a:spcPts val="0"/>
              </a:spcAft>
              <a:buNone/>
              <a:defRPr sz="2400"/>
            </a:lvl5pPr>
            <a:lvl6pPr marL="0" indent="0" algn="l">
              <a:lnSpc>
                <a:spcPct val="100000"/>
              </a:lnSpc>
              <a:spcAft>
                <a:spcPts val="0"/>
              </a:spcAft>
              <a:buNone/>
              <a:defRPr sz="2400"/>
            </a:lvl6pPr>
            <a:lvl7pPr marL="0" indent="0" algn="l">
              <a:lnSpc>
                <a:spcPct val="100000"/>
              </a:lnSpc>
              <a:spcAft>
                <a:spcPts val="0"/>
              </a:spcAft>
              <a:buNone/>
              <a:defRPr sz="2400"/>
            </a:lvl7pPr>
            <a:lvl8pPr marL="0" indent="0" algn="l">
              <a:lnSpc>
                <a:spcPct val="100000"/>
              </a:lnSpc>
              <a:spcAft>
                <a:spcPts val="0"/>
              </a:spcAft>
              <a:buNone/>
              <a:defRPr sz="2400"/>
            </a:lvl8pPr>
            <a:lvl9pPr marL="0" indent="0" algn="l">
              <a:lnSpc>
                <a:spcPct val="100000"/>
              </a:lnSpc>
              <a:spcAft>
                <a:spcPts val="0"/>
              </a:spcAft>
              <a:buNone/>
              <a:defRPr sz="2400"/>
            </a:lvl9pPr>
          </a:lstStyle>
          <a:p>
            <a:r>
              <a:rPr lang="en-US" noProof="0" dirty="0"/>
              <a:t>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gray">
          <a:xfrm>
            <a:off x="586817" y="4689140"/>
            <a:ext cx="3529571" cy="288032"/>
          </a:xfrm>
        </p:spPr>
        <p:txBody>
          <a:bodyPr anchor="t"/>
          <a:lstStyle>
            <a:lvl1pPr marL="0" indent="0" algn="l" rtl="0">
              <a:lnSpc>
                <a:spcPct val="100000"/>
              </a:lnSpc>
              <a:spcBef>
                <a:spcPts val="0"/>
              </a:spcBef>
              <a:spcAft>
                <a:spcPts val="0"/>
              </a:spcAft>
              <a:buFontTx/>
              <a:buNone/>
              <a:defRPr sz="1400">
                <a:solidFill>
                  <a:schemeClr val="tx1"/>
                </a:solidFill>
              </a:defRPr>
            </a:lvl1pPr>
            <a:lvl2pPr marL="0" indent="0">
              <a:lnSpc>
                <a:spcPct val="100000"/>
              </a:lnSpc>
              <a:spcBef>
                <a:spcPts val="0"/>
              </a:spcBef>
              <a:spcAft>
                <a:spcPts val="0"/>
              </a:spcAft>
              <a:buFontTx/>
              <a:buNone/>
              <a:defRPr sz="1400"/>
            </a:lvl2pPr>
            <a:lvl3pPr marL="0" indent="0">
              <a:lnSpc>
                <a:spcPct val="100000"/>
              </a:lnSpc>
              <a:spcBef>
                <a:spcPts val="0"/>
              </a:spcBef>
              <a:spcAft>
                <a:spcPts val="0"/>
              </a:spcAft>
              <a:buFontTx/>
              <a:buNone/>
              <a:defRPr sz="1400"/>
            </a:lvl3pPr>
            <a:lvl4pPr marL="0" indent="0">
              <a:lnSpc>
                <a:spcPct val="100000"/>
              </a:lnSpc>
              <a:spcBef>
                <a:spcPts val="0"/>
              </a:spcBef>
              <a:spcAft>
                <a:spcPts val="0"/>
              </a:spcAft>
              <a:buFontTx/>
              <a:buNone/>
              <a:defRPr sz="1400"/>
            </a:lvl4pPr>
            <a:lvl5pPr marL="0" indent="0">
              <a:lnSpc>
                <a:spcPct val="100000"/>
              </a:lnSpc>
              <a:spcBef>
                <a:spcPts val="0"/>
              </a:spcBef>
              <a:spcAft>
                <a:spcPts val="0"/>
              </a:spcAft>
              <a:buFontTx/>
              <a:buNone/>
              <a:defRPr sz="1400"/>
            </a:lvl5pPr>
            <a:lvl6pPr marL="0" indent="0">
              <a:lnSpc>
                <a:spcPct val="100000"/>
              </a:lnSpc>
              <a:spcBef>
                <a:spcPts val="0"/>
              </a:spcBef>
              <a:spcAft>
                <a:spcPts val="0"/>
              </a:spcAft>
              <a:buFontTx/>
              <a:buNone/>
              <a:defRPr sz="1400"/>
            </a:lvl6pPr>
            <a:lvl7pPr marL="0" indent="0">
              <a:lnSpc>
                <a:spcPct val="100000"/>
              </a:lnSpc>
              <a:spcBef>
                <a:spcPts val="0"/>
              </a:spcBef>
              <a:spcAft>
                <a:spcPts val="0"/>
              </a:spcAft>
              <a:buFontTx/>
              <a:buNone/>
              <a:defRPr sz="1400"/>
            </a:lvl7pPr>
            <a:lvl8pPr marL="0" indent="0">
              <a:lnSpc>
                <a:spcPct val="100000"/>
              </a:lnSpc>
              <a:spcBef>
                <a:spcPts val="0"/>
              </a:spcBef>
              <a:spcAft>
                <a:spcPts val="0"/>
              </a:spcAft>
              <a:buFontTx/>
              <a:buNone/>
              <a:defRPr sz="1400"/>
            </a:lvl8pPr>
            <a:lvl9pPr marL="0" indent="0">
              <a:lnSpc>
                <a:spcPct val="100000"/>
              </a:lnSpc>
              <a:spcBef>
                <a:spcPts val="0"/>
              </a:spcBef>
              <a:spcAft>
                <a:spcPts val="0"/>
              </a:spcAft>
              <a:buFontTx/>
              <a:buNone/>
              <a:defRPr sz="1400"/>
            </a:lvl9pPr>
          </a:lstStyle>
          <a:p>
            <a:fld id="{E2C57399-C005-4124-AF4A-6777815D9B16}" type="datetime1">
              <a:rPr lang="en-US"/>
              <a:t>1/16/2022</a:t>
            </a:fld>
            <a:endParaRPr lang="en-US" dirty="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bwMode="gray">
          <a:xfrm>
            <a:off x="604973" y="476936"/>
            <a:ext cx="3630623" cy="329870"/>
          </a:xfrm>
          <a:prstGeom prst="rect">
            <a:avLst/>
          </a:prstGeom>
        </p:spPr>
      </p:pic>
      <p:grpSp>
        <p:nvGrpSpPr>
          <p:cNvPr id="16" name="Gruppieren 15">
            <a:extLst>
              <a:ext uri="{FF2B5EF4-FFF2-40B4-BE49-F238E27FC236}">
                <a16:creationId xmlns:a16="http://schemas.microsoft.com/office/drawing/2014/main" id="{06956DC9-6DE9-4396-89B0-F5352960F2C8}"/>
              </a:ext>
            </a:extLst>
          </p:cNvPr>
          <p:cNvGrpSpPr>
            <a:grpSpLocks noChangeAspect="1"/>
          </p:cNvGrpSpPr>
          <p:nvPr/>
        </p:nvGrpSpPr>
        <p:grpSpPr bwMode="gray">
          <a:xfrm flipV="1">
            <a:off x="8799025" y="2737959"/>
            <a:ext cx="3392975" cy="4120041"/>
            <a:chOff x="5807968" y="2191091"/>
            <a:chExt cx="2667000" cy="3238500"/>
          </a:xfrm>
        </p:grpSpPr>
        <p:sp>
          <p:nvSpPr>
            <p:cNvPr id="17" name="Freihandform: Form 16">
              <a:extLst>
                <a:ext uri="{FF2B5EF4-FFF2-40B4-BE49-F238E27FC236}">
                  <a16:creationId xmlns:a16="http://schemas.microsoft.com/office/drawing/2014/main" id="{D7A29E38-C4B8-431B-9150-1E48EFD043DC}"/>
                </a:ext>
              </a:extLst>
            </p:cNvPr>
            <p:cNvSpPr/>
            <p:nvPr/>
          </p:nvSpPr>
          <p:spPr bwMode="gray">
            <a:xfrm>
              <a:off x="6760468" y="2572091"/>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pPr rtl="0"/>
              <a:endParaRPr lang="en-US" dirty="0"/>
            </a:p>
          </p:txBody>
        </p:sp>
        <p:sp>
          <p:nvSpPr>
            <p:cNvPr id="18" name="Freihandform: Form 17">
              <a:extLst>
                <a:ext uri="{FF2B5EF4-FFF2-40B4-BE49-F238E27FC236}">
                  <a16:creationId xmlns:a16="http://schemas.microsoft.com/office/drawing/2014/main" id="{93DB171A-DE9B-42E3-8B9B-F2C31B64BB3B}"/>
                </a:ext>
              </a:extLst>
            </p:cNvPr>
            <p:cNvSpPr/>
            <p:nvPr/>
          </p:nvSpPr>
          <p:spPr bwMode="gray">
            <a:xfrm>
              <a:off x="5807968" y="2191091"/>
              <a:ext cx="952500" cy="381000"/>
            </a:xfrm>
            <a:custGeom>
              <a:avLst/>
              <a:gdLst>
                <a:gd name="connsiteX0" fmla="*/ 0 w 952500"/>
                <a:gd name="connsiteY0" fmla="*/ 0 h 381000"/>
                <a:gd name="connsiteX1" fmla="*/ 952500 w 952500"/>
                <a:gd name="connsiteY1" fmla="*/ 0 h 381000"/>
                <a:gd name="connsiteX2" fmla="*/ 952500 w 952500"/>
                <a:gd name="connsiteY2" fmla="*/ 381000 h 381000"/>
                <a:gd name="connsiteX3" fmla="*/ 0 w 9525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952500" h="381000">
                  <a:moveTo>
                    <a:pt x="0" y="0"/>
                  </a:moveTo>
                  <a:lnTo>
                    <a:pt x="952500" y="0"/>
                  </a:lnTo>
                  <a:lnTo>
                    <a:pt x="952500" y="381000"/>
                  </a:lnTo>
                  <a:lnTo>
                    <a:pt x="0" y="381000"/>
                  </a:lnTo>
                  <a:close/>
                </a:path>
              </a:pathLst>
            </a:custGeom>
            <a:solidFill>
              <a:srgbClr val="00CE7D"/>
            </a:solidFill>
            <a:ln w="9525" cap="flat">
              <a:noFill/>
              <a:prstDash val="solid"/>
              <a:miter/>
            </a:ln>
          </p:spPr>
          <p:txBody>
            <a:bodyPr rtlCol="0" anchor="ctr"/>
            <a:lstStyle/>
            <a:p>
              <a:pPr rtl="0"/>
              <a:endParaRPr lang="en-US" dirty="0"/>
            </a:p>
          </p:txBody>
        </p:sp>
        <p:sp>
          <p:nvSpPr>
            <p:cNvPr id="19" name="Freihandform: Form 18">
              <a:extLst>
                <a:ext uri="{FF2B5EF4-FFF2-40B4-BE49-F238E27FC236}">
                  <a16:creationId xmlns:a16="http://schemas.microsoft.com/office/drawing/2014/main" id="{9E7C7148-B187-412B-BE3E-00C968F6C1F5}"/>
                </a:ext>
              </a:extLst>
            </p:cNvPr>
            <p:cNvSpPr/>
            <p:nvPr/>
          </p:nvSpPr>
          <p:spPr bwMode="gray">
            <a:xfrm>
              <a:off x="5807968" y="3524591"/>
              <a:ext cx="952500" cy="1905000"/>
            </a:xfrm>
            <a:custGeom>
              <a:avLst/>
              <a:gdLst>
                <a:gd name="connsiteX0" fmla="*/ 0 w 952500"/>
                <a:gd name="connsiteY0" fmla="*/ 0 h 1905000"/>
                <a:gd name="connsiteX1" fmla="*/ 952500 w 952500"/>
                <a:gd name="connsiteY1" fmla="*/ 0 h 1905000"/>
                <a:gd name="connsiteX2" fmla="*/ 952500 w 952500"/>
                <a:gd name="connsiteY2" fmla="*/ 1905000 h 1905000"/>
                <a:gd name="connsiteX3" fmla="*/ 0 w 9525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952500" h="1905000">
                  <a:moveTo>
                    <a:pt x="0" y="0"/>
                  </a:moveTo>
                  <a:lnTo>
                    <a:pt x="952500" y="0"/>
                  </a:lnTo>
                  <a:lnTo>
                    <a:pt x="952500" y="1905000"/>
                  </a:lnTo>
                  <a:lnTo>
                    <a:pt x="0" y="1905000"/>
                  </a:lnTo>
                  <a:close/>
                </a:path>
              </a:pathLst>
            </a:custGeom>
            <a:gradFill>
              <a:gsLst>
                <a:gs pos="20000">
                  <a:srgbClr val="00CE7D"/>
                </a:gs>
                <a:gs pos="80000">
                  <a:srgbClr val="201751"/>
                </a:gs>
              </a:gsLst>
              <a:lin ang="5400000" scaled="1"/>
            </a:gradFill>
            <a:ln w="9525" cap="flat">
              <a:noFill/>
              <a:prstDash val="solid"/>
              <a:miter/>
            </a:ln>
          </p:spPr>
          <p:txBody>
            <a:bodyPr rtlCol="0" anchor="ctr"/>
            <a:lstStyle/>
            <a:p>
              <a:pPr rtl="0"/>
              <a:endParaRPr lang="en-US" dirty="0"/>
            </a:p>
          </p:txBody>
        </p:sp>
        <p:sp>
          <p:nvSpPr>
            <p:cNvPr id="20" name="Freihandform: Form 19">
              <a:extLst>
                <a:ext uri="{FF2B5EF4-FFF2-40B4-BE49-F238E27FC236}">
                  <a16:creationId xmlns:a16="http://schemas.microsoft.com/office/drawing/2014/main" id="{BE9CB61C-B448-43DF-B262-10BB8930606D}"/>
                </a:ext>
              </a:extLst>
            </p:cNvPr>
            <p:cNvSpPr/>
            <p:nvPr/>
          </p:nvSpPr>
          <p:spPr bwMode="gray">
            <a:xfrm>
              <a:off x="7712968" y="2191091"/>
              <a:ext cx="762000" cy="1333500"/>
            </a:xfrm>
            <a:custGeom>
              <a:avLst/>
              <a:gdLst>
                <a:gd name="connsiteX0" fmla="*/ 762000 w 762000"/>
                <a:gd name="connsiteY0" fmla="*/ 0 h 1333500"/>
                <a:gd name="connsiteX1" fmla="*/ 0 w 762000"/>
                <a:gd name="connsiteY1" fmla="*/ 0 h 1333500"/>
                <a:gd name="connsiteX2" fmla="*/ 0 w 762000"/>
                <a:gd name="connsiteY2" fmla="*/ 1333500 h 1333500"/>
                <a:gd name="connsiteX3" fmla="*/ 762000 w 762000"/>
                <a:gd name="connsiteY3" fmla="*/ 952595 h 1333500"/>
                <a:gd name="connsiteX4" fmla="*/ 762000 w 762000"/>
                <a:gd name="connsiteY4" fmla="*/ 0 h 133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333500">
                  <a:moveTo>
                    <a:pt x="762000" y="0"/>
                  </a:moveTo>
                  <a:lnTo>
                    <a:pt x="0" y="0"/>
                  </a:lnTo>
                  <a:lnTo>
                    <a:pt x="0" y="1333500"/>
                  </a:lnTo>
                  <a:cubicBezTo>
                    <a:pt x="311563" y="1333500"/>
                    <a:pt x="588264" y="1183862"/>
                    <a:pt x="762000" y="952595"/>
                  </a:cubicBezTo>
                  <a:lnTo>
                    <a:pt x="762000" y="0"/>
                  </a:lnTo>
                  <a:close/>
                </a:path>
              </a:pathLst>
            </a:custGeom>
            <a:solidFill>
              <a:srgbClr val="FFFFFF"/>
            </a:solidFill>
            <a:ln w="9525" cap="flat">
              <a:noFill/>
              <a:prstDash val="solid"/>
              <a:miter/>
            </a:ln>
          </p:spPr>
          <p:txBody>
            <a:bodyPr rtlCol="0" anchor="ctr"/>
            <a:lstStyle/>
            <a:p>
              <a:pPr rtl="0"/>
              <a:endParaRPr lang="en-US" dirty="0"/>
            </a:p>
          </p:txBody>
        </p:sp>
        <p:sp>
          <p:nvSpPr>
            <p:cNvPr id="21" name="Freihandform: Form 20">
              <a:extLst>
                <a:ext uri="{FF2B5EF4-FFF2-40B4-BE49-F238E27FC236}">
                  <a16:creationId xmlns:a16="http://schemas.microsoft.com/office/drawing/2014/main" id="{6A55E9B2-921C-4329-B985-554A9C3767F2}"/>
                </a:ext>
              </a:extLst>
            </p:cNvPr>
            <p:cNvSpPr/>
            <p:nvPr/>
          </p:nvSpPr>
          <p:spPr bwMode="gray">
            <a:xfrm>
              <a:off x="7712968" y="4667591"/>
              <a:ext cx="762000" cy="762000"/>
            </a:xfrm>
            <a:custGeom>
              <a:avLst/>
              <a:gdLst>
                <a:gd name="connsiteX0" fmla="*/ 0 w 762000"/>
                <a:gd name="connsiteY0" fmla="*/ 762000 h 762000"/>
                <a:gd name="connsiteX1" fmla="*/ 762000 w 762000"/>
                <a:gd name="connsiteY1" fmla="*/ 762000 h 762000"/>
                <a:gd name="connsiteX2" fmla="*/ 762000 w 762000"/>
                <a:gd name="connsiteY2" fmla="*/ 0 h 762000"/>
              </a:gdLst>
              <a:ahLst/>
              <a:cxnLst>
                <a:cxn ang="0">
                  <a:pos x="connsiteX0" y="connsiteY0"/>
                </a:cxn>
                <a:cxn ang="0">
                  <a:pos x="connsiteX1" y="connsiteY1"/>
                </a:cxn>
                <a:cxn ang="0">
                  <a:pos x="connsiteX2" y="connsiteY2"/>
                </a:cxn>
              </a:cxnLst>
              <a:rect l="l" t="t" r="r" b="b"/>
              <a:pathLst>
                <a:path w="762000" h="762000">
                  <a:moveTo>
                    <a:pt x="0" y="762000"/>
                  </a:moveTo>
                  <a:lnTo>
                    <a:pt x="762000" y="762000"/>
                  </a:lnTo>
                  <a:lnTo>
                    <a:pt x="762000" y="0"/>
                  </a:lnTo>
                  <a:close/>
                </a:path>
              </a:pathLst>
            </a:custGeom>
            <a:solidFill>
              <a:srgbClr val="FFFFFF"/>
            </a:solidFill>
            <a:ln w="9525" cap="flat">
              <a:noFill/>
              <a:prstDash val="solid"/>
              <a:miter/>
            </a:ln>
          </p:spPr>
          <p:txBody>
            <a:bodyPr rtlCol="0" anchor="ctr"/>
            <a:lstStyle/>
            <a:p>
              <a:pPr rtl="0"/>
              <a:endParaRPr lang="en-US" dirty="0"/>
            </a:p>
          </p:txBody>
        </p:sp>
        <p:sp>
          <p:nvSpPr>
            <p:cNvPr id="22" name="Freihandform: Form 21">
              <a:extLst>
                <a:ext uri="{FF2B5EF4-FFF2-40B4-BE49-F238E27FC236}">
                  <a16:creationId xmlns:a16="http://schemas.microsoft.com/office/drawing/2014/main" id="{F7D47231-D549-4315-B04C-12DC4848D802}"/>
                </a:ext>
              </a:extLst>
            </p:cNvPr>
            <p:cNvSpPr/>
            <p:nvPr/>
          </p:nvSpPr>
          <p:spPr bwMode="gray">
            <a:xfrm>
              <a:off x="6760468" y="3524591"/>
              <a:ext cx="1714500" cy="1905000"/>
            </a:xfrm>
            <a:custGeom>
              <a:avLst/>
              <a:gdLst>
                <a:gd name="connsiteX0" fmla="*/ 1714500 w 1714500"/>
                <a:gd name="connsiteY0" fmla="*/ 0 h 1905000"/>
                <a:gd name="connsiteX1" fmla="*/ 952500 w 1714500"/>
                <a:gd name="connsiteY1" fmla="*/ 0 h 1905000"/>
                <a:gd name="connsiteX2" fmla="*/ 0 w 1714500"/>
                <a:gd name="connsiteY2" fmla="*/ 952500 h 1905000"/>
                <a:gd name="connsiteX3" fmla="*/ 0 w 1714500"/>
                <a:gd name="connsiteY3" fmla="*/ 1905000 h 1905000"/>
                <a:gd name="connsiteX4" fmla="*/ 1714500 w 1714500"/>
                <a:gd name="connsiteY4" fmla="*/ 19050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0" h="1905000">
                  <a:moveTo>
                    <a:pt x="1714500" y="0"/>
                  </a:moveTo>
                  <a:lnTo>
                    <a:pt x="952500" y="0"/>
                  </a:lnTo>
                  <a:lnTo>
                    <a:pt x="0" y="952500"/>
                  </a:lnTo>
                  <a:lnTo>
                    <a:pt x="0" y="1905000"/>
                  </a:lnTo>
                  <a:lnTo>
                    <a:pt x="1714500" y="190500"/>
                  </a:lnTo>
                  <a:close/>
                </a:path>
              </a:pathLst>
            </a:custGeom>
            <a:gradFill>
              <a:gsLst>
                <a:gs pos="20000">
                  <a:srgbClr val="201751"/>
                </a:gs>
                <a:gs pos="80000">
                  <a:srgbClr val="00CE7D"/>
                </a:gs>
              </a:gsLst>
              <a:lin ang="5400000" scaled="1"/>
            </a:gradFill>
            <a:ln w="9525" cap="flat">
              <a:noFill/>
              <a:prstDash val="solid"/>
              <a:miter/>
            </a:ln>
          </p:spPr>
          <p:txBody>
            <a:bodyPr rtlCol="0" anchor="ctr"/>
            <a:lstStyle/>
            <a:p>
              <a:pPr rtl="0"/>
              <a:endParaRPr lang="en-US" dirty="0"/>
            </a:p>
          </p:txBody>
        </p:sp>
      </p:grpSp>
      <p:grpSp>
        <p:nvGrpSpPr>
          <p:cNvPr id="23" name="Gruppieren 22">
            <a:extLst>
              <a:ext uri="{FF2B5EF4-FFF2-40B4-BE49-F238E27FC236}">
                <a16:creationId xmlns:a16="http://schemas.microsoft.com/office/drawing/2014/main" id="{22A3C5AB-0D7E-4DDA-8B55-39C3B63BC1B0}"/>
              </a:ext>
            </a:extLst>
          </p:cNvPr>
          <p:cNvGrpSpPr/>
          <p:nvPr/>
        </p:nvGrpSpPr>
        <p:grpSpPr bwMode="gray">
          <a:xfrm>
            <a:off x="10804526" y="1"/>
            <a:ext cx="809625" cy="1135063"/>
            <a:chOff x="10804526" y="1"/>
            <a:chExt cx="809625" cy="1135063"/>
          </a:xfrm>
        </p:grpSpPr>
        <p:sp>
          <p:nvSpPr>
            <p:cNvPr id="24" name="Freihandform: Form 23">
              <a:extLst>
                <a:ext uri="{FF2B5EF4-FFF2-40B4-BE49-F238E27FC236}">
                  <a16:creationId xmlns:a16="http://schemas.microsoft.com/office/drawing/2014/main" id="{38DA3440-973E-4634-A018-03CA81D773ED}"/>
                </a:ext>
              </a:extLst>
            </p:cNvPr>
            <p:cNvSpPr/>
            <p:nvPr userDrawn="1"/>
          </p:nvSpPr>
          <p:spPr bwMode="gray">
            <a:xfrm>
              <a:off x="10804526" y="1"/>
              <a:ext cx="809625" cy="1135063"/>
            </a:xfrm>
            <a:custGeom>
              <a:avLst/>
              <a:gdLst>
                <a:gd name="connsiteX0" fmla="*/ 0 w 809625"/>
                <a:gd name="connsiteY0" fmla="*/ 0 h 1135063"/>
                <a:gd name="connsiteX1" fmla="*/ 809625 w 809625"/>
                <a:gd name="connsiteY1" fmla="*/ 0 h 1135063"/>
                <a:gd name="connsiteX2" fmla="*/ 809625 w 809625"/>
                <a:gd name="connsiteY2" fmla="*/ 730422 h 1135063"/>
                <a:gd name="connsiteX3" fmla="*/ 404813 w 809625"/>
                <a:gd name="connsiteY3" fmla="*/ 1135063 h 1135063"/>
                <a:gd name="connsiteX4" fmla="*/ 0 w 809625"/>
                <a:gd name="connsiteY4" fmla="*/ 730422 h 1135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1135063">
                  <a:moveTo>
                    <a:pt x="0" y="0"/>
                  </a:moveTo>
                  <a:lnTo>
                    <a:pt x="809625" y="0"/>
                  </a:lnTo>
                  <a:lnTo>
                    <a:pt x="809625" y="730422"/>
                  </a:lnTo>
                  <a:cubicBezTo>
                    <a:pt x="809625" y="953908"/>
                    <a:pt x="628489" y="1135063"/>
                    <a:pt x="404813" y="1135063"/>
                  </a:cubicBezTo>
                  <a:cubicBezTo>
                    <a:pt x="181308" y="1135063"/>
                    <a:pt x="0" y="953908"/>
                    <a:pt x="0" y="730422"/>
                  </a:cubicBezTo>
                  <a:close/>
                </a:path>
              </a:pathLst>
            </a:custGeom>
            <a:solidFill>
              <a:srgbClr val="00CE7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bIns="79200" rtlCol="0" anchor="ctr">
              <a:noAutofit/>
            </a:bodyPr>
            <a:lstStyle/>
            <a:p>
              <a:pPr algn="ctr" rtl="0"/>
              <a:endParaRPr lang="en-US" sz="1400" dirty="0"/>
            </a:p>
          </p:txBody>
        </p:sp>
        <p:sp>
          <p:nvSpPr>
            <p:cNvPr id="26" name="Freeform 17">
              <a:extLst>
                <a:ext uri="{FF2B5EF4-FFF2-40B4-BE49-F238E27FC236}">
                  <a16:creationId xmlns:a16="http://schemas.microsoft.com/office/drawing/2014/main" id="{4E4A314E-5DD9-4E53-9FCE-30EFDF26ADB1}"/>
                </a:ext>
              </a:extLst>
            </p:cNvPr>
            <p:cNvSpPr>
              <a:spLocks noEditPoints="1"/>
            </p:cNvSpPr>
            <p:nvPr userDrawn="1"/>
          </p:nvSpPr>
          <p:spPr bwMode="gray">
            <a:xfrm>
              <a:off x="10929938" y="487363"/>
              <a:ext cx="595313" cy="320675"/>
            </a:xfrm>
            <a:custGeom>
              <a:avLst/>
              <a:gdLst>
                <a:gd name="T0" fmla="*/ 3270 w 3471"/>
                <a:gd name="T1" fmla="*/ 1872 h 1872"/>
                <a:gd name="T2" fmla="*/ 3137 w 3471"/>
                <a:gd name="T3" fmla="*/ 1817 h 1872"/>
                <a:gd name="T4" fmla="*/ 2679 w 3471"/>
                <a:gd name="T5" fmla="*/ 1358 h 1872"/>
                <a:gd name="T6" fmla="*/ 2677 w 3471"/>
                <a:gd name="T7" fmla="*/ 1096 h 1872"/>
                <a:gd name="T8" fmla="*/ 2806 w 3471"/>
                <a:gd name="T9" fmla="*/ 1042 h 1872"/>
                <a:gd name="T10" fmla="*/ 2939 w 3471"/>
                <a:gd name="T11" fmla="*/ 1098 h 1872"/>
                <a:gd name="T12" fmla="*/ 3397 w 3471"/>
                <a:gd name="T13" fmla="*/ 1557 h 1872"/>
                <a:gd name="T14" fmla="*/ 3452 w 3471"/>
                <a:gd name="T15" fmla="*/ 1688 h 1872"/>
                <a:gd name="T16" fmla="*/ 3399 w 3471"/>
                <a:gd name="T17" fmla="*/ 1819 h 1872"/>
                <a:gd name="T18" fmla="*/ 3270 w 3471"/>
                <a:gd name="T19" fmla="*/ 1872 h 1872"/>
                <a:gd name="T20" fmla="*/ 3270 w 3471"/>
                <a:gd name="T21" fmla="*/ 1872 h 1872"/>
                <a:gd name="T22" fmla="*/ 1787 w 3471"/>
                <a:gd name="T23" fmla="*/ 1872 h 1872"/>
                <a:gd name="T24" fmla="*/ 1658 w 3471"/>
                <a:gd name="T25" fmla="*/ 1819 h 1872"/>
                <a:gd name="T26" fmla="*/ 1605 w 3471"/>
                <a:gd name="T27" fmla="*/ 1688 h 1872"/>
                <a:gd name="T28" fmla="*/ 1660 w 3471"/>
                <a:gd name="T29" fmla="*/ 1557 h 1872"/>
                <a:gd name="T30" fmla="*/ 2119 w 3471"/>
                <a:gd name="T31" fmla="*/ 1098 h 1872"/>
                <a:gd name="T32" fmla="*/ 2252 w 3471"/>
                <a:gd name="T33" fmla="*/ 1042 h 1872"/>
                <a:gd name="T34" fmla="*/ 2381 w 3471"/>
                <a:gd name="T35" fmla="*/ 1096 h 1872"/>
                <a:gd name="T36" fmla="*/ 2379 w 3471"/>
                <a:gd name="T37" fmla="*/ 1358 h 1872"/>
                <a:gd name="T38" fmla="*/ 1920 w 3471"/>
                <a:gd name="T39" fmla="*/ 1817 h 1872"/>
                <a:gd name="T40" fmla="*/ 1787 w 3471"/>
                <a:gd name="T41" fmla="*/ 1872 h 1872"/>
                <a:gd name="T42" fmla="*/ 1787 w 3471"/>
                <a:gd name="T43" fmla="*/ 1872 h 1872"/>
                <a:gd name="T44" fmla="*/ 196 w 3471"/>
                <a:gd name="T45" fmla="*/ 1857 h 1872"/>
                <a:gd name="T46" fmla="*/ 0 w 3471"/>
                <a:gd name="T47" fmla="*/ 1662 h 1872"/>
                <a:gd name="T48" fmla="*/ 0 w 3471"/>
                <a:gd name="T49" fmla="*/ 211 h 1872"/>
                <a:gd name="T50" fmla="*/ 196 w 3471"/>
                <a:gd name="T51" fmla="*/ 16 h 1872"/>
                <a:gd name="T52" fmla="*/ 1219 w 3471"/>
                <a:gd name="T53" fmla="*/ 16 h 1872"/>
                <a:gd name="T54" fmla="*/ 1390 w 3471"/>
                <a:gd name="T55" fmla="*/ 185 h 1872"/>
                <a:gd name="T56" fmla="*/ 1219 w 3471"/>
                <a:gd name="T57" fmla="*/ 354 h 1872"/>
                <a:gd name="T58" fmla="*/ 372 w 3471"/>
                <a:gd name="T59" fmla="*/ 354 h 1872"/>
                <a:gd name="T60" fmla="*/ 372 w 3471"/>
                <a:gd name="T61" fmla="*/ 1518 h 1872"/>
                <a:gd name="T62" fmla="*/ 1232 w 3471"/>
                <a:gd name="T63" fmla="*/ 1518 h 1872"/>
                <a:gd name="T64" fmla="*/ 1404 w 3471"/>
                <a:gd name="T65" fmla="*/ 1688 h 1872"/>
                <a:gd name="T66" fmla="*/ 1232 w 3471"/>
                <a:gd name="T67" fmla="*/ 1857 h 1872"/>
                <a:gd name="T68" fmla="*/ 196 w 3471"/>
                <a:gd name="T69" fmla="*/ 1857 h 1872"/>
                <a:gd name="T70" fmla="*/ 590 w 3471"/>
                <a:gd name="T71" fmla="*/ 1099 h 1872"/>
                <a:gd name="T72" fmla="*/ 590 w 3471"/>
                <a:gd name="T73" fmla="*/ 761 h 1872"/>
                <a:gd name="T74" fmla="*/ 1628 w 3471"/>
                <a:gd name="T75" fmla="*/ 761 h 1872"/>
                <a:gd name="T76" fmla="*/ 1800 w 3471"/>
                <a:gd name="T77" fmla="*/ 930 h 1872"/>
                <a:gd name="T78" fmla="*/ 1628 w 3471"/>
                <a:gd name="T79" fmla="*/ 1099 h 1872"/>
                <a:gd name="T80" fmla="*/ 590 w 3471"/>
                <a:gd name="T81" fmla="*/ 1099 h 1872"/>
                <a:gd name="T82" fmla="*/ 2806 w 3471"/>
                <a:gd name="T83" fmla="*/ 831 h 1872"/>
                <a:gd name="T84" fmla="*/ 2677 w 3471"/>
                <a:gd name="T85" fmla="*/ 777 h 1872"/>
                <a:gd name="T86" fmla="*/ 2679 w 3471"/>
                <a:gd name="T87" fmla="*/ 515 h 1872"/>
                <a:gd name="T88" fmla="*/ 3137 w 3471"/>
                <a:gd name="T89" fmla="*/ 56 h 1872"/>
                <a:gd name="T90" fmla="*/ 3270 w 3471"/>
                <a:gd name="T91" fmla="*/ 0 h 1872"/>
                <a:gd name="T92" fmla="*/ 3399 w 3471"/>
                <a:gd name="T93" fmla="*/ 54 h 1872"/>
                <a:gd name="T94" fmla="*/ 3397 w 3471"/>
                <a:gd name="T95" fmla="*/ 316 h 1872"/>
                <a:gd name="T96" fmla="*/ 2939 w 3471"/>
                <a:gd name="T97" fmla="*/ 775 h 1872"/>
                <a:gd name="T98" fmla="*/ 2806 w 3471"/>
                <a:gd name="T99" fmla="*/ 831 h 1872"/>
                <a:gd name="T100" fmla="*/ 2252 w 3471"/>
                <a:gd name="T101" fmla="*/ 831 h 1872"/>
                <a:gd name="T102" fmla="*/ 2119 w 3471"/>
                <a:gd name="T103" fmla="*/ 775 h 1872"/>
                <a:gd name="T104" fmla="*/ 1660 w 3471"/>
                <a:gd name="T105" fmla="*/ 316 h 1872"/>
                <a:gd name="T106" fmla="*/ 1658 w 3471"/>
                <a:gd name="T107" fmla="*/ 54 h 1872"/>
                <a:gd name="T108" fmla="*/ 1787 w 3471"/>
                <a:gd name="T109" fmla="*/ 0 h 1872"/>
                <a:gd name="T110" fmla="*/ 1920 w 3471"/>
                <a:gd name="T111" fmla="*/ 56 h 1872"/>
                <a:gd name="T112" fmla="*/ 2379 w 3471"/>
                <a:gd name="T113" fmla="*/ 515 h 1872"/>
                <a:gd name="T114" fmla="*/ 2381 w 3471"/>
                <a:gd name="T115" fmla="*/ 777 h 1872"/>
                <a:gd name="T116" fmla="*/ 2252 w 3471"/>
                <a:gd name="T117" fmla="*/ 831 h 1872"/>
                <a:gd name="T118" fmla="*/ 2252 w 3471"/>
                <a:gd name="T119" fmla="*/ 831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71" h="1872">
                  <a:moveTo>
                    <a:pt x="3270" y="1872"/>
                  </a:moveTo>
                  <a:cubicBezTo>
                    <a:pt x="3220" y="1872"/>
                    <a:pt x="3173" y="1853"/>
                    <a:pt x="3137" y="1817"/>
                  </a:cubicBezTo>
                  <a:lnTo>
                    <a:pt x="2679" y="1358"/>
                  </a:lnTo>
                  <a:cubicBezTo>
                    <a:pt x="2606" y="1285"/>
                    <a:pt x="2605" y="1167"/>
                    <a:pt x="2677" y="1096"/>
                  </a:cubicBezTo>
                  <a:cubicBezTo>
                    <a:pt x="2711" y="1061"/>
                    <a:pt x="2757" y="1042"/>
                    <a:pt x="2806" y="1042"/>
                  </a:cubicBezTo>
                  <a:cubicBezTo>
                    <a:pt x="2856" y="1042"/>
                    <a:pt x="2903" y="1062"/>
                    <a:pt x="2939" y="1098"/>
                  </a:cubicBezTo>
                  <a:lnTo>
                    <a:pt x="3397" y="1557"/>
                  </a:lnTo>
                  <a:cubicBezTo>
                    <a:pt x="3432" y="1592"/>
                    <a:pt x="3452" y="1639"/>
                    <a:pt x="3452" y="1688"/>
                  </a:cubicBezTo>
                  <a:cubicBezTo>
                    <a:pt x="3453" y="1738"/>
                    <a:pt x="3434" y="1784"/>
                    <a:pt x="3399" y="1819"/>
                  </a:cubicBezTo>
                  <a:cubicBezTo>
                    <a:pt x="3365" y="1854"/>
                    <a:pt x="3319" y="1872"/>
                    <a:pt x="3270" y="1872"/>
                  </a:cubicBezTo>
                  <a:lnTo>
                    <a:pt x="3270" y="1872"/>
                  </a:lnTo>
                  <a:close/>
                  <a:moveTo>
                    <a:pt x="1787" y="1872"/>
                  </a:moveTo>
                  <a:cubicBezTo>
                    <a:pt x="1739" y="1872"/>
                    <a:pt x="1693" y="1854"/>
                    <a:pt x="1658" y="1819"/>
                  </a:cubicBezTo>
                  <a:cubicBezTo>
                    <a:pt x="1624" y="1784"/>
                    <a:pt x="1605" y="1738"/>
                    <a:pt x="1605" y="1688"/>
                  </a:cubicBezTo>
                  <a:cubicBezTo>
                    <a:pt x="1605" y="1639"/>
                    <a:pt x="1625" y="1592"/>
                    <a:pt x="1660" y="1557"/>
                  </a:cubicBezTo>
                  <a:lnTo>
                    <a:pt x="2119" y="1098"/>
                  </a:lnTo>
                  <a:cubicBezTo>
                    <a:pt x="2154" y="1062"/>
                    <a:pt x="2202" y="1042"/>
                    <a:pt x="2252" y="1042"/>
                  </a:cubicBezTo>
                  <a:cubicBezTo>
                    <a:pt x="2300" y="1042"/>
                    <a:pt x="2346" y="1061"/>
                    <a:pt x="2381" y="1096"/>
                  </a:cubicBezTo>
                  <a:cubicBezTo>
                    <a:pt x="2452" y="1167"/>
                    <a:pt x="2451" y="1285"/>
                    <a:pt x="2379" y="1358"/>
                  </a:cubicBezTo>
                  <a:lnTo>
                    <a:pt x="1920" y="1817"/>
                  </a:lnTo>
                  <a:cubicBezTo>
                    <a:pt x="1885" y="1853"/>
                    <a:pt x="1837" y="1872"/>
                    <a:pt x="1787" y="1872"/>
                  </a:cubicBezTo>
                  <a:cubicBezTo>
                    <a:pt x="1787" y="1872"/>
                    <a:pt x="1787" y="1872"/>
                    <a:pt x="1787" y="1872"/>
                  </a:cubicBezTo>
                  <a:close/>
                  <a:moveTo>
                    <a:pt x="196" y="1857"/>
                  </a:moveTo>
                  <a:cubicBezTo>
                    <a:pt x="87" y="1857"/>
                    <a:pt x="0" y="1771"/>
                    <a:pt x="0" y="1662"/>
                  </a:cubicBezTo>
                  <a:lnTo>
                    <a:pt x="0" y="211"/>
                  </a:lnTo>
                  <a:cubicBezTo>
                    <a:pt x="0" y="102"/>
                    <a:pt x="87" y="16"/>
                    <a:pt x="196" y="16"/>
                  </a:cubicBezTo>
                  <a:lnTo>
                    <a:pt x="1219" y="16"/>
                  </a:lnTo>
                  <a:cubicBezTo>
                    <a:pt x="1313" y="16"/>
                    <a:pt x="1390" y="92"/>
                    <a:pt x="1390" y="185"/>
                  </a:cubicBezTo>
                  <a:cubicBezTo>
                    <a:pt x="1390" y="278"/>
                    <a:pt x="1313" y="354"/>
                    <a:pt x="1219" y="354"/>
                  </a:cubicBezTo>
                  <a:lnTo>
                    <a:pt x="372" y="354"/>
                  </a:lnTo>
                  <a:lnTo>
                    <a:pt x="372" y="1518"/>
                  </a:lnTo>
                  <a:lnTo>
                    <a:pt x="1232" y="1518"/>
                  </a:lnTo>
                  <a:cubicBezTo>
                    <a:pt x="1327" y="1518"/>
                    <a:pt x="1404" y="1594"/>
                    <a:pt x="1404" y="1688"/>
                  </a:cubicBezTo>
                  <a:cubicBezTo>
                    <a:pt x="1404" y="1781"/>
                    <a:pt x="1327" y="1857"/>
                    <a:pt x="1232" y="1857"/>
                  </a:cubicBezTo>
                  <a:lnTo>
                    <a:pt x="196" y="1857"/>
                  </a:lnTo>
                  <a:close/>
                  <a:moveTo>
                    <a:pt x="590" y="1099"/>
                  </a:moveTo>
                  <a:lnTo>
                    <a:pt x="590" y="761"/>
                  </a:lnTo>
                  <a:lnTo>
                    <a:pt x="1628" y="761"/>
                  </a:lnTo>
                  <a:cubicBezTo>
                    <a:pt x="1723" y="761"/>
                    <a:pt x="1800" y="837"/>
                    <a:pt x="1800" y="930"/>
                  </a:cubicBezTo>
                  <a:cubicBezTo>
                    <a:pt x="1800" y="1023"/>
                    <a:pt x="1723" y="1099"/>
                    <a:pt x="1628" y="1099"/>
                  </a:cubicBezTo>
                  <a:lnTo>
                    <a:pt x="590" y="1099"/>
                  </a:lnTo>
                  <a:close/>
                  <a:moveTo>
                    <a:pt x="2806" y="831"/>
                  </a:moveTo>
                  <a:cubicBezTo>
                    <a:pt x="2757" y="831"/>
                    <a:pt x="2711" y="812"/>
                    <a:pt x="2677" y="777"/>
                  </a:cubicBezTo>
                  <a:cubicBezTo>
                    <a:pt x="2605" y="706"/>
                    <a:pt x="2606" y="588"/>
                    <a:pt x="2679" y="515"/>
                  </a:cubicBezTo>
                  <a:lnTo>
                    <a:pt x="3137" y="56"/>
                  </a:lnTo>
                  <a:cubicBezTo>
                    <a:pt x="3173" y="20"/>
                    <a:pt x="3220" y="0"/>
                    <a:pt x="3270" y="0"/>
                  </a:cubicBezTo>
                  <a:cubicBezTo>
                    <a:pt x="3319" y="0"/>
                    <a:pt x="3365" y="19"/>
                    <a:pt x="3399" y="54"/>
                  </a:cubicBezTo>
                  <a:cubicBezTo>
                    <a:pt x="3471" y="126"/>
                    <a:pt x="3470" y="243"/>
                    <a:pt x="3397" y="316"/>
                  </a:cubicBezTo>
                  <a:lnTo>
                    <a:pt x="2939" y="775"/>
                  </a:lnTo>
                  <a:cubicBezTo>
                    <a:pt x="2903" y="811"/>
                    <a:pt x="2856" y="831"/>
                    <a:pt x="2806" y="831"/>
                  </a:cubicBezTo>
                  <a:close/>
                  <a:moveTo>
                    <a:pt x="2252" y="831"/>
                  </a:moveTo>
                  <a:cubicBezTo>
                    <a:pt x="2202" y="831"/>
                    <a:pt x="2154" y="811"/>
                    <a:pt x="2119" y="775"/>
                  </a:cubicBezTo>
                  <a:lnTo>
                    <a:pt x="1660" y="316"/>
                  </a:lnTo>
                  <a:cubicBezTo>
                    <a:pt x="1588" y="243"/>
                    <a:pt x="1587" y="126"/>
                    <a:pt x="1658" y="54"/>
                  </a:cubicBezTo>
                  <a:cubicBezTo>
                    <a:pt x="1693" y="19"/>
                    <a:pt x="1739" y="0"/>
                    <a:pt x="1787" y="0"/>
                  </a:cubicBezTo>
                  <a:cubicBezTo>
                    <a:pt x="1837" y="0"/>
                    <a:pt x="1885" y="20"/>
                    <a:pt x="1920" y="56"/>
                  </a:cubicBezTo>
                  <a:lnTo>
                    <a:pt x="2379" y="515"/>
                  </a:lnTo>
                  <a:cubicBezTo>
                    <a:pt x="2451" y="588"/>
                    <a:pt x="2452" y="706"/>
                    <a:pt x="2381" y="777"/>
                  </a:cubicBezTo>
                  <a:cubicBezTo>
                    <a:pt x="2346" y="812"/>
                    <a:pt x="2300" y="831"/>
                    <a:pt x="2252" y="831"/>
                  </a:cubicBezTo>
                  <a:lnTo>
                    <a:pt x="2252" y="831"/>
                  </a:lnTo>
                  <a:close/>
                </a:path>
              </a:pathLst>
            </a:custGeom>
            <a:solidFill>
              <a:srgbClr val="20175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US" dirty="0"/>
            </a:p>
          </p:txBody>
        </p:sp>
      </p:grpSp>
    </p:spTree>
    <p:extLst>
      <p:ext uri="{BB962C8B-B14F-4D97-AF65-F5344CB8AC3E}">
        <p14:creationId xmlns:p14="http://schemas.microsoft.com/office/powerpoint/2010/main" val="39574550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4F43753-18C3-4625-BC53-9EB3A2A15C2F}"/>
              </a:ext>
            </a:extLst>
          </p:cNvPr>
          <p:cNvGraphicFramePr>
            <a:graphicFrameLocks noChangeAspect="1"/>
          </p:cNvGraphicFramePr>
          <p:nvPr userDrawn="1">
            <p:custDataLst>
              <p:tags r:id="rId2"/>
            </p:custDataLst>
            <p:extLst>
              <p:ext uri="{D42A27DB-BD31-4B8C-83A1-F6EECF244321}">
                <p14:modId xmlns:p14="http://schemas.microsoft.com/office/powerpoint/2010/main" val="892654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89" name="think-cell Folie" r:id="rId4" imgW="359" imgH="358" progId="TCLayout.ActiveDocument.1">
                  <p:embed/>
                </p:oleObj>
              </mc:Choice>
              <mc:Fallback>
                <p:oleObj name="think-cell Folie" r:id="rId4" imgW="359" imgH="358" progId="TCLayout.ActiveDocument.1">
                  <p:embed/>
                  <p:pic>
                    <p:nvPicPr>
                      <p:cNvPr id="5" name="Objekt 4" hidden="1">
                        <a:extLst>
                          <a:ext uri="{FF2B5EF4-FFF2-40B4-BE49-F238E27FC236}">
                            <a16:creationId xmlns:a16="http://schemas.microsoft.com/office/drawing/2014/main" id="{84F43753-18C3-4625-BC53-9EB3A2A15C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vert="horz"/>
          <a:lstStyle>
            <a:lvl1pPr rtl="0">
              <a:defRPr/>
            </a:lvl1pPr>
          </a:lstStyle>
          <a:p>
            <a:r>
              <a:rPr lang="en-US" noProof="0" dirty="0"/>
              <a:t>Click to edit Master title style</a:t>
            </a:r>
          </a:p>
        </p:txBody>
      </p:sp>
      <p:sp>
        <p:nvSpPr>
          <p:cNvPr id="9" name="Inhaltsplatzhalter 8">
            <a:extLst>
              <a:ext uri="{FF2B5EF4-FFF2-40B4-BE49-F238E27FC236}">
                <a16:creationId xmlns:a16="http://schemas.microsoft.com/office/drawing/2014/main" id="{9498EFB6-F28B-4075-959C-D80C299D8C5E}"/>
              </a:ext>
            </a:extLst>
          </p:cNvPr>
          <p:cNvSpPr>
            <a:spLocks noGrp="1"/>
          </p:cNvSpPr>
          <p:nvPr>
            <p:ph sz="quarter" idx="16" hasCustomPrompt="1"/>
          </p:nvPr>
        </p:nvSpPr>
        <p:spPr bwMode="gray">
          <a:xfrm>
            <a:off x="587375" y="1916113"/>
            <a:ext cx="5400675" cy="4213225"/>
          </a:xfrm>
        </p:spPr>
        <p:txBody>
          <a:bodyPr/>
          <a:lstStyle>
            <a:lvl1pPr rtl="0">
              <a:defRPr/>
            </a:lvl1pPr>
            <a:lvl2pPr rtl="0">
              <a:defRPr/>
            </a:lvl2pPr>
            <a:lvl3pPr rtl="0">
              <a:defRPr/>
            </a:lvl3pPr>
            <a:lvl4pPr rtl="0">
              <a:defRPr/>
            </a:lvl4pPr>
            <a:lvl5pPr rtl="0">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Inhaltsplatzhalter 10">
            <a:extLst>
              <a:ext uri="{FF2B5EF4-FFF2-40B4-BE49-F238E27FC236}">
                <a16:creationId xmlns:a16="http://schemas.microsoft.com/office/drawing/2014/main" id="{ED1B5D5A-F9B8-4256-8DD8-396956155A1B}"/>
              </a:ext>
            </a:extLst>
          </p:cNvPr>
          <p:cNvSpPr>
            <a:spLocks noGrp="1"/>
          </p:cNvSpPr>
          <p:nvPr>
            <p:ph sz="quarter" idx="17" hasCustomPrompt="1"/>
          </p:nvPr>
        </p:nvSpPr>
        <p:spPr bwMode="gray">
          <a:xfrm>
            <a:off x="6203950" y="1916113"/>
            <a:ext cx="5400675" cy="4213225"/>
          </a:xfrm>
        </p:spPr>
        <p:txBody>
          <a:bodyPr/>
          <a:lstStyle>
            <a:lvl1pPr rtl="0">
              <a:defRPr/>
            </a:lvl1pPr>
            <a:lvl2pPr rtl="0">
              <a:defRPr/>
            </a:lvl2pPr>
            <a:lvl3pPr rtl="0">
              <a:defRPr/>
            </a:lvl3pPr>
            <a:lvl4pPr rtl="0">
              <a:defRPr/>
            </a:lvl4pPr>
            <a:lvl5pPr rtl="0">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Date Placeholder 2">
            <a:extLst>
              <a:ext uri="{FF2B5EF4-FFF2-40B4-BE49-F238E27FC236}">
                <a16:creationId xmlns:a16="http://schemas.microsoft.com/office/drawing/2014/main" id="{0B1A8501-2127-4A03-A204-7BE81284643B}"/>
              </a:ext>
            </a:extLst>
          </p:cNvPr>
          <p:cNvSpPr>
            <a:spLocks noGrp="1"/>
          </p:cNvSpPr>
          <p:nvPr>
            <p:ph type="dt" sz="half" idx="18"/>
          </p:nvPr>
        </p:nvSpPr>
        <p:spPr bwMode="gray"/>
        <p:txBody>
          <a:bodyPr/>
          <a:lstStyle>
            <a:lvl1pPr rtl="0">
              <a:defRPr/>
            </a:lvl1pPr>
          </a:lstStyle>
          <a:p>
            <a:fld id="{0C0BFF69-EB17-4809-BB82-0194BA9D6999}" type="datetime1">
              <a:rPr lang="en-US"/>
              <a:t>1/16/2022</a:t>
            </a:fld>
            <a:endParaRPr lang="en-US" dirty="0"/>
          </a:p>
        </p:txBody>
      </p:sp>
      <p:sp>
        <p:nvSpPr>
          <p:cNvPr id="6" name="Slide Number Placeholder 5">
            <a:extLst>
              <a:ext uri="{FF2B5EF4-FFF2-40B4-BE49-F238E27FC236}">
                <a16:creationId xmlns:a16="http://schemas.microsoft.com/office/drawing/2014/main" id="{E1294DA3-4BD3-4274-9371-47EB990F8D81}"/>
              </a:ext>
            </a:extLst>
          </p:cNvPr>
          <p:cNvSpPr>
            <a:spLocks noGrp="1"/>
          </p:cNvSpPr>
          <p:nvPr>
            <p:ph type="sldNum" sz="quarter" idx="19"/>
          </p:nvPr>
        </p:nvSpPr>
        <p:spPr bwMode="gray"/>
        <p:txBody>
          <a:bodyPr/>
          <a:lstStyle>
            <a:lvl1pPr rtl="0">
              <a:defRPr/>
            </a:lvl1pPr>
          </a:lstStyle>
          <a:p>
            <a:fld id="{62CB3E74-FC4B-418A-B5F6-72ED80208EB2}" type="slidenum">
              <a:rPr lang="en-US"/>
              <a:pPr/>
              <a:t>‹#›</a:t>
            </a:fld>
            <a:endParaRPr lang="en-US" dirty="0"/>
          </a:p>
        </p:txBody>
      </p:sp>
    </p:spTree>
    <p:extLst>
      <p:ext uri="{BB962C8B-B14F-4D97-AF65-F5344CB8AC3E}">
        <p14:creationId xmlns:p14="http://schemas.microsoft.com/office/powerpoint/2010/main" val="137017923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E1311FA-E808-4137-BAF5-22B3BCE02806}"/>
              </a:ext>
            </a:extLst>
          </p:cNvPr>
          <p:cNvGraphicFramePr>
            <a:graphicFrameLocks noChangeAspect="1"/>
          </p:cNvGraphicFramePr>
          <p:nvPr userDrawn="1">
            <p:custDataLst>
              <p:tags r:id="rId2"/>
            </p:custDataLst>
            <p:extLst>
              <p:ext uri="{D42A27DB-BD31-4B8C-83A1-F6EECF244321}">
                <p14:modId xmlns:p14="http://schemas.microsoft.com/office/powerpoint/2010/main" val="3924589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13" name="think-cell Folie" r:id="rId4" imgW="359" imgH="358" progId="TCLayout.ActiveDocument.1">
                  <p:embed/>
                </p:oleObj>
              </mc:Choice>
              <mc:Fallback>
                <p:oleObj name="think-cell Folie" r:id="rId4" imgW="359" imgH="358" progId="TCLayout.ActiveDocument.1">
                  <p:embed/>
                  <p:pic>
                    <p:nvPicPr>
                      <p:cNvPr id="5" name="Objekt 4" hidden="1">
                        <a:extLst>
                          <a:ext uri="{FF2B5EF4-FFF2-40B4-BE49-F238E27FC236}">
                            <a16:creationId xmlns:a16="http://schemas.microsoft.com/office/drawing/2014/main" id="{1E1311FA-E808-4137-BAF5-22B3BCE028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vert="horz"/>
          <a:lstStyle>
            <a:lvl1pPr rtl="0">
              <a:defRPr/>
            </a:lvl1pPr>
          </a:lstStyle>
          <a:p>
            <a:r>
              <a:rPr lang="en-US" noProof="0" dirty="0"/>
              <a:t>Click to edit Master title style</a:t>
            </a:r>
          </a:p>
        </p:txBody>
      </p:sp>
      <p:sp>
        <p:nvSpPr>
          <p:cNvPr id="9" name="Inhaltsplatzhalter 8">
            <a:extLst>
              <a:ext uri="{FF2B5EF4-FFF2-40B4-BE49-F238E27FC236}">
                <a16:creationId xmlns:a16="http://schemas.microsoft.com/office/drawing/2014/main" id="{69D571FC-BA96-4CAF-A727-A635D4576025}"/>
              </a:ext>
            </a:extLst>
          </p:cNvPr>
          <p:cNvSpPr>
            <a:spLocks noGrp="1"/>
          </p:cNvSpPr>
          <p:nvPr>
            <p:ph sz="quarter" idx="17" hasCustomPrompt="1"/>
          </p:nvPr>
        </p:nvSpPr>
        <p:spPr bwMode="gray">
          <a:xfrm>
            <a:off x="587375" y="1916113"/>
            <a:ext cx="3529013" cy="4213225"/>
          </a:xfrm>
        </p:spPr>
        <p:txBody>
          <a:bodyPr/>
          <a:lstStyle>
            <a:lvl1pPr rtl="0">
              <a:defRPr sz="1600"/>
            </a:lvl1pPr>
            <a:lvl2pPr marL="180000" indent="-180000" rtl="0">
              <a:defRPr sz="1600"/>
            </a:lvl2pPr>
            <a:lvl3pPr rtl="0">
              <a:defRPr sz="1600"/>
            </a:lvl3pPr>
            <a:lvl4pPr rtl="0">
              <a:defRPr sz="1600"/>
            </a:lvl4pPr>
            <a:lvl5pPr rtl="0">
              <a:defRPr sz="1600"/>
            </a:lvl5pPr>
            <a:lvl6pPr>
              <a:defRPr sz="1200"/>
            </a:lvl6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Inhaltsplatzhalter 8">
            <a:extLst>
              <a:ext uri="{FF2B5EF4-FFF2-40B4-BE49-F238E27FC236}">
                <a16:creationId xmlns:a16="http://schemas.microsoft.com/office/drawing/2014/main" id="{E05B939F-D767-408F-A43E-2B6FD79A4DDA}"/>
              </a:ext>
            </a:extLst>
          </p:cNvPr>
          <p:cNvSpPr>
            <a:spLocks noGrp="1"/>
          </p:cNvSpPr>
          <p:nvPr>
            <p:ph sz="quarter" idx="18" hasCustomPrompt="1"/>
          </p:nvPr>
        </p:nvSpPr>
        <p:spPr bwMode="gray">
          <a:xfrm>
            <a:off x="4332288" y="1916113"/>
            <a:ext cx="3529013" cy="4213225"/>
          </a:xfrm>
        </p:spPr>
        <p:txBody>
          <a:bodyPr/>
          <a:lstStyle>
            <a:lvl1pPr rtl="0">
              <a:defRPr sz="1600"/>
            </a:lvl1pPr>
            <a:lvl2pPr marL="180000" indent="-180000" rtl="0">
              <a:defRPr sz="1600"/>
            </a:lvl2pPr>
            <a:lvl3pPr rtl="0">
              <a:defRPr sz="1600"/>
            </a:lvl3pPr>
            <a:lvl4pPr rtl="0">
              <a:defRPr sz="1600"/>
            </a:lvl4pPr>
            <a:lvl5pPr rtl="0">
              <a:defRPr sz="1600"/>
            </a:lvl5pPr>
            <a:lvl6pPr>
              <a:defRPr sz="1200"/>
            </a:lvl6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Inhaltsplatzhalter 8">
            <a:extLst>
              <a:ext uri="{FF2B5EF4-FFF2-40B4-BE49-F238E27FC236}">
                <a16:creationId xmlns:a16="http://schemas.microsoft.com/office/drawing/2014/main" id="{BA6ACEF6-A2C9-4708-BF76-02325C9F1C52}"/>
              </a:ext>
            </a:extLst>
          </p:cNvPr>
          <p:cNvSpPr>
            <a:spLocks noGrp="1"/>
          </p:cNvSpPr>
          <p:nvPr>
            <p:ph sz="quarter" idx="19" hasCustomPrompt="1"/>
          </p:nvPr>
        </p:nvSpPr>
        <p:spPr bwMode="gray">
          <a:xfrm>
            <a:off x="8075613" y="1916113"/>
            <a:ext cx="3529013" cy="4213225"/>
          </a:xfrm>
        </p:spPr>
        <p:txBody>
          <a:bodyPr/>
          <a:lstStyle>
            <a:lvl1pPr rtl="0">
              <a:defRPr sz="1600"/>
            </a:lvl1pPr>
            <a:lvl2pPr marL="180000" indent="-180000" rtl="0">
              <a:defRPr sz="1600"/>
            </a:lvl2pPr>
            <a:lvl3pPr rtl="0">
              <a:defRPr sz="1600"/>
            </a:lvl3pPr>
            <a:lvl4pPr rtl="0">
              <a:defRPr sz="1600"/>
            </a:lvl4pPr>
            <a:lvl5pPr rtl="0">
              <a:defRPr sz="1600"/>
            </a:lvl5pPr>
            <a:lvl6pPr>
              <a:defRPr sz="1200"/>
            </a:lvl6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Date Placeholder 2">
            <a:extLst>
              <a:ext uri="{FF2B5EF4-FFF2-40B4-BE49-F238E27FC236}">
                <a16:creationId xmlns:a16="http://schemas.microsoft.com/office/drawing/2014/main" id="{8D5D0483-414C-4F51-843F-44544332E387}"/>
              </a:ext>
            </a:extLst>
          </p:cNvPr>
          <p:cNvSpPr>
            <a:spLocks noGrp="1"/>
          </p:cNvSpPr>
          <p:nvPr>
            <p:ph type="dt" sz="half" idx="20"/>
          </p:nvPr>
        </p:nvSpPr>
        <p:spPr bwMode="gray"/>
        <p:txBody>
          <a:bodyPr/>
          <a:lstStyle>
            <a:lvl1pPr rtl="0">
              <a:defRPr/>
            </a:lvl1pPr>
          </a:lstStyle>
          <a:p>
            <a:fld id="{2427A404-555B-4B75-8807-94074219B747}" type="datetime1">
              <a:rPr lang="en-US"/>
              <a:t>1/16/2022</a:t>
            </a:fld>
            <a:endParaRPr lang="en-US" dirty="0"/>
          </a:p>
        </p:txBody>
      </p:sp>
      <p:sp>
        <p:nvSpPr>
          <p:cNvPr id="6" name="Slide Number Placeholder 5">
            <a:extLst>
              <a:ext uri="{FF2B5EF4-FFF2-40B4-BE49-F238E27FC236}">
                <a16:creationId xmlns:a16="http://schemas.microsoft.com/office/drawing/2014/main" id="{AF1929E3-53FE-4AD5-9603-46F552CACE1D}"/>
              </a:ext>
            </a:extLst>
          </p:cNvPr>
          <p:cNvSpPr>
            <a:spLocks noGrp="1"/>
          </p:cNvSpPr>
          <p:nvPr>
            <p:ph type="sldNum" sz="quarter" idx="21"/>
          </p:nvPr>
        </p:nvSpPr>
        <p:spPr bwMode="gray"/>
        <p:txBody>
          <a:bodyPr/>
          <a:lstStyle>
            <a:lvl1pPr rtl="0">
              <a:defRPr/>
            </a:lvl1pPr>
          </a:lstStyle>
          <a:p>
            <a:fld id="{62CB3E74-FC4B-418A-B5F6-72ED80208EB2}" type="slidenum">
              <a:rPr lang="en-US"/>
              <a:pPr/>
              <a:t>‹#›</a:t>
            </a:fld>
            <a:endParaRPr lang="en-US" dirty="0"/>
          </a:p>
        </p:txBody>
      </p:sp>
    </p:spTree>
    <p:extLst>
      <p:ext uri="{BB962C8B-B14F-4D97-AF65-F5344CB8AC3E}">
        <p14:creationId xmlns:p14="http://schemas.microsoft.com/office/powerpoint/2010/main" val="154346074"/>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One Content | Pictur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42439FF-4DEB-43F1-8320-3F27326B71A3}"/>
              </a:ext>
            </a:extLst>
          </p:cNvPr>
          <p:cNvGraphicFramePr>
            <a:graphicFrameLocks noChangeAspect="1"/>
          </p:cNvGraphicFramePr>
          <p:nvPr userDrawn="1">
            <p:custDataLst>
              <p:tags r:id="rId2"/>
            </p:custDataLst>
            <p:extLst>
              <p:ext uri="{D42A27DB-BD31-4B8C-83A1-F6EECF244321}">
                <p14:modId xmlns:p14="http://schemas.microsoft.com/office/powerpoint/2010/main" val="4292862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37" name="think-cell Folie" r:id="rId4" imgW="359" imgH="358" progId="TCLayout.ActiveDocument.1">
                  <p:embed/>
                </p:oleObj>
              </mc:Choice>
              <mc:Fallback>
                <p:oleObj name="think-cell Folie" r:id="rId4" imgW="359" imgH="358" progId="TCLayout.ActiveDocument.1">
                  <p:embed/>
                  <p:pic>
                    <p:nvPicPr>
                      <p:cNvPr id="5" name="Objekt 4" hidden="1">
                        <a:extLst>
                          <a:ext uri="{FF2B5EF4-FFF2-40B4-BE49-F238E27FC236}">
                            <a16:creationId xmlns:a16="http://schemas.microsoft.com/office/drawing/2014/main" id="{A42439FF-4DEB-43F1-8320-3F27326B71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a:xfrm>
            <a:off x="587376" y="368301"/>
            <a:ext cx="5400674" cy="466899"/>
          </a:xfrm>
        </p:spPr>
        <p:txBody>
          <a:bodyPr vert="horz"/>
          <a:lstStyle>
            <a:lvl1pPr rtl="0">
              <a:defRPr/>
            </a:lvl1pPr>
          </a:lstStyle>
          <a:p>
            <a:r>
              <a:rPr lang="en-US" dirty="0"/>
              <a:t>Click </a:t>
            </a:r>
            <a:r>
              <a:rPr lang="en-US" noProof="0" dirty="0"/>
              <a:t>to</a:t>
            </a:r>
            <a:r>
              <a:rPr lang="en-US" dirty="0"/>
              <a:t> edit Master title style</a:t>
            </a:r>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7" y="1916113"/>
            <a:ext cx="5400673" cy="4213225"/>
          </a:xfrm>
        </p:spPr>
        <p:txBody>
          <a:bodyPr/>
          <a:lstStyle>
            <a:lvl1pPr rtl="0">
              <a:defRPr/>
            </a:lvl1pPr>
            <a:lvl2pPr rtl="0">
              <a:defRPr/>
            </a:lvl2pPr>
            <a:lvl3pPr rtl="0">
              <a:defRPr/>
            </a:lvl3pPr>
            <a:lvl4pPr rtl="0">
              <a:defRPr/>
            </a:lvl4pPr>
            <a:lvl5pPr rtl="0">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Bildplatzhalter 6">
            <a:extLst>
              <a:ext uri="{FF2B5EF4-FFF2-40B4-BE49-F238E27FC236}">
                <a16:creationId xmlns:a16="http://schemas.microsoft.com/office/drawing/2014/main" id="{00D65DE6-22B8-49FA-AE8B-AB79B8531731}"/>
              </a:ext>
            </a:extLst>
          </p:cNvPr>
          <p:cNvSpPr>
            <a:spLocks noGrp="1"/>
          </p:cNvSpPr>
          <p:nvPr>
            <p:ph type="pic" sz="quarter" idx="11" hasCustomPrompt="1"/>
          </p:nvPr>
        </p:nvSpPr>
        <p:spPr bwMode="gray">
          <a:xfrm>
            <a:off x="6203950" y="0"/>
            <a:ext cx="5988050" cy="6129339"/>
          </a:xfrm>
          <a:prstGeom prst="rect">
            <a:avLst/>
          </a:prstGeom>
          <a:solidFill>
            <a:schemeClr val="accent6"/>
          </a:solidFill>
        </p:spPr>
        <p:txBody>
          <a:bodyPr wrap="square" anchor="ctr">
            <a:noAutofit/>
          </a:bodyPr>
          <a:lstStyle>
            <a:lvl1pPr marL="0" indent="0" algn="ctr" rtl="0">
              <a:buNone/>
              <a:defRPr sz="1400">
                <a:solidFill>
                  <a:schemeClr val="bg1"/>
                </a:solidFill>
              </a:defRPr>
            </a:lvl1pPr>
          </a:lstStyle>
          <a:p>
            <a:r>
              <a:rPr lang="en-US" noProof="0" dirty="0"/>
              <a:t> </a:t>
            </a:r>
          </a:p>
        </p:txBody>
      </p:sp>
      <p:sp>
        <p:nvSpPr>
          <p:cNvPr id="6" name="Date Placeholder 5">
            <a:extLst>
              <a:ext uri="{FF2B5EF4-FFF2-40B4-BE49-F238E27FC236}">
                <a16:creationId xmlns:a16="http://schemas.microsoft.com/office/drawing/2014/main" id="{6672B7DE-4CE2-48D8-9E83-B1655F427CE5}"/>
              </a:ext>
            </a:extLst>
          </p:cNvPr>
          <p:cNvSpPr>
            <a:spLocks noGrp="1"/>
          </p:cNvSpPr>
          <p:nvPr>
            <p:ph type="dt" sz="half" idx="12"/>
          </p:nvPr>
        </p:nvSpPr>
        <p:spPr bwMode="gray"/>
        <p:txBody>
          <a:bodyPr/>
          <a:lstStyle>
            <a:lvl1pPr rtl="0">
              <a:defRPr/>
            </a:lvl1pPr>
          </a:lstStyle>
          <a:p>
            <a:fld id="{69FAA657-B6BA-412C-91F8-FCE8C2FDE540}" type="datetime1">
              <a:rPr lang="en-US"/>
              <a:t>1/16/2022</a:t>
            </a:fld>
            <a:endParaRPr lang="en-US" dirty="0"/>
          </a:p>
        </p:txBody>
      </p:sp>
      <p:sp>
        <p:nvSpPr>
          <p:cNvPr id="8" name="Slide Number Placeholder 7">
            <a:extLst>
              <a:ext uri="{FF2B5EF4-FFF2-40B4-BE49-F238E27FC236}">
                <a16:creationId xmlns:a16="http://schemas.microsoft.com/office/drawing/2014/main" id="{4706D15E-D4F6-4294-A987-444ED4989563}"/>
              </a:ext>
            </a:extLst>
          </p:cNvPr>
          <p:cNvSpPr>
            <a:spLocks noGrp="1"/>
          </p:cNvSpPr>
          <p:nvPr>
            <p:ph type="sldNum" sz="quarter" idx="13"/>
          </p:nvPr>
        </p:nvSpPr>
        <p:spPr bwMode="gray"/>
        <p:txBody>
          <a:bodyPr/>
          <a:lstStyle>
            <a:lvl1pPr rtl="0">
              <a:defRPr/>
            </a:lvl1pPr>
          </a:lstStyle>
          <a:p>
            <a:fld id="{62CB3E74-FC4B-418A-B5F6-72ED80208EB2}" type="slidenum">
              <a:rPr lang="en-US"/>
              <a:pPr/>
              <a:t>‹#›</a:t>
            </a:fld>
            <a:endParaRPr lang="en-US" dirty="0"/>
          </a:p>
        </p:txBody>
      </p:sp>
    </p:spTree>
    <p:extLst>
      <p:ext uri="{BB962C8B-B14F-4D97-AF65-F5344CB8AC3E}">
        <p14:creationId xmlns:p14="http://schemas.microsoft.com/office/powerpoint/2010/main" val="13123341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B8B15F6-089F-4F86-9946-3C24CA7D7738}"/>
              </a:ext>
            </a:extLst>
          </p:cNvPr>
          <p:cNvGraphicFramePr>
            <a:graphicFrameLocks noChangeAspect="1"/>
          </p:cNvGraphicFramePr>
          <p:nvPr userDrawn="1">
            <p:custDataLst>
              <p:tags r:id="rId2"/>
            </p:custDataLst>
            <p:extLst>
              <p:ext uri="{D42A27DB-BD31-4B8C-83A1-F6EECF244321}">
                <p14:modId xmlns:p14="http://schemas.microsoft.com/office/powerpoint/2010/main" val="3757440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61" name="think-cell Folie" r:id="rId4" imgW="359" imgH="358" progId="TCLayout.ActiveDocument.1">
                  <p:embed/>
                </p:oleObj>
              </mc:Choice>
              <mc:Fallback>
                <p:oleObj name="think-cell Folie" r:id="rId4" imgW="359" imgH="358" progId="TCLayout.ActiveDocument.1">
                  <p:embed/>
                  <p:pic>
                    <p:nvPicPr>
                      <p:cNvPr id="6" name="Objekt 5" hidden="1">
                        <a:extLst>
                          <a:ext uri="{FF2B5EF4-FFF2-40B4-BE49-F238E27FC236}">
                            <a16:creationId xmlns:a16="http://schemas.microsoft.com/office/drawing/2014/main" id="{CB8B15F6-089F-4F86-9946-3C24CA7D77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DFFA6D0-AB8A-4F44-9727-A1CE86F10CC6}"/>
              </a:ext>
            </a:extLst>
          </p:cNvPr>
          <p:cNvSpPr>
            <a:spLocks noGrp="1"/>
          </p:cNvSpPr>
          <p:nvPr>
            <p:ph type="title" hasCustomPrompt="1"/>
          </p:nvPr>
        </p:nvSpPr>
        <p:spPr bwMode="gray"/>
        <p:txBody>
          <a:bodyPr vert="horz"/>
          <a:lstStyle>
            <a:lvl1pPr rtl="0">
              <a:defRPr/>
            </a:lvl1pPr>
          </a:lstStyle>
          <a:p>
            <a:r>
              <a:rPr lang="en-US" noProof="0" dirty="0"/>
              <a:t>Click to edit Master title style</a:t>
            </a:r>
          </a:p>
        </p:txBody>
      </p:sp>
      <p:sp>
        <p:nvSpPr>
          <p:cNvPr id="3" name="Date Placeholder 2">
            <a:extLst>
              <a:ext uri="{FF2B5EF4-FFF2-40B4-BE49-F238E27FC236}">
                <a16:creationId xmlns:a16="http://schemas.microsoft.com/office/drawing/2014/main" id="{521B5917-CBB4-4162-8067-EF80AC06BE52}"/>
              </a:ext>
            </a:extLst>
          </p:cNvPr>
          <p:cNvSpPr>
            <a:spLocks noGrp="1"/>
          </p:cNvSpPr>
          <p:nvPr>
            <p:ph type="dt" sz="half" idx="10"/>
          </p:nvPr>
        </p:nvSpPr>
        <p:spPr bwMode="gray"/>
        <p:txBody>
          <a:bodyPr/>
          <a:lstStyle>
            <a:lvl1pPr rtl="0">
              <a:defRPr/>
            </a:lvl1pPr>
          </a:lstStyle>
          <a:p>
            <a:fld id="{B1634300-2CD8-45AE-BCEA-427EDB7F03D3}" type="datetime1">
              <a:rPr lang="en-US"/>
              <a:t>1/16/2022</a:t>
            </a:fld>
            <a:endParaRPr lang="en-US" dirty="0"/>
          </a:p>
        </p:txBody>
      </p:sp>
      <p:sp>
        <p:nvSpPr>
          <p:cNvPr id="4" name="Slide Number Placeholder 3">
            <a:extLst>
              <a:ext uri="{FF2B5EF4-FFF2-40B4-BE49-F238E27FC236}">
                <a16:creationId xmlns:a16="http://schemas.microsoft.com/office/drawing/2014/main" id="{BA3E2A66-7F5E-4326-9BBB-FB60EEAEAB72}"/>
              </a:ext>
            </a:extLst>
          </p:cNvPr>
          <p:cNvSpPr>
            <a:spLocks noGrp="1"/>
          </p:cNvSpPr>
          <p:nvPr>
            <p:ph type="sldNum" sz="quarter" idx="11"/>
          </p:nvPr>
        </p:nvSpPr>
        <p:spPr bwMode="gray"/>
        <p:txBody>
          <a:bodyPr/>
          <a:lstStyle>
            <a:lvl1pPr rtl="0">
              <a:defRPr/>
            </a:lvl1pPr>
          </a:lstStyle>
          <a:p>
            <a:fld id="{62CB3E74-FC4B-418A-B5F6-72ED80208EB2}" type="slidenum">
              <a:rPr lang="en-US"/>
              <a:pPr/>
              <a:t>‹#›</a:t>
            </a:fld>
            <a:endParaRPr lang="en-US" dirty="0"/>
          </a:p>
        </p:txBody>
      </p:sp>
    </p:spTree>
    <p:extLst>
      <p:ext uri="{BB962C8B-B14F-4D97-AF65-F5344CB8AC3E}">
        <p14:creationId xmlns:p14="http://schemas.microsoft.com/office/powerpoint/2010/main" val="2682919264"/>
      </p:ext>
    </p:extLst>
  </p:cSld>
  <p:clrMapOvr>
    <a:masterClrMapping/>
  </p:clrMapOvr>
  <p:extLst>
    <p:ext uri="{DCECCB84-F9BA-43D5-87BE-67443E8EF086}">
      <p15:sldGuideLst xmlns:p15="http://schemas.microsoft.com/office/powerpoint/2012/main">
        <p15:guide id="1" pos="2003">
          <p15:clr>
            <a:srgbClr val="FBAE40"/>
          </p15:clr>
        </p15:guide>
        <p15:guide id="2" pos="2139">
          <p15:clr>
            <a:srgbClr val="FBAE40"/>
          </p15:clr>
        </p15:guide>
        <p15:guide id="3" pos="2593">
          <p15:clr>
            <a:srgbClr val="FBAE40"/>
          </p15:clr>
        </p15:guide>
        <p15:guide id="4" pos="2729">
          <p15:clr>
            <a:srgbClr val="FBAE40"/>
          </p15:clr>
        </p15:guide>
        <p15:guide id="5" pos="3772">
          <p15:clr>
            <a:srgbClr val="FBAE40"/>
          </p15:clr>
        </p15:guide>
        <p15:guide id="6" pos="3908">
          <p15:clr>
            <a:srgbClr val="FBAE40"/>
          </p15:clr>
        </p15:guide>
        <p15:guide id="7" pos="4951">
          <p15:clr>
            <a:srgbClr val="FBAE40"/>
          </p15:clr>
        </p15:guide>
        <p15:guide id="8" pos="5087">
          <p15:clr>
            <a:srgbClr val="FBAE40"/>
          </p15:clr>
        </p15:guide>
        <p15:guide id="9" pos="5541">
          <p15:clr>
            <a:srgbClr val="FBAE40"/>
          </p15:clr>
        </p15:guide>
        <p15:guide id="10" pos="567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 Whit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51D97F9-74F8-4B80-90E7-20B3D14908D0}"/>
              </a:ext>
            </a:extLst>
          </p:cNvPr>
          <p:cNvGraphicFramePr>
            <a:graphicFrameLocks noChangeAspect="1"/>
          </p:cNvGraphicFramePr>
          <p:nvPr userDrawn="1">
            <p:custDataLst>
              <p:tags r:id="rId2"/>
            </p:custDataLst>
            <p:extLst>
              <p:ext uri="{D42A27DB-BD31-4B8C-83A1-F6EECF244321}">
                <p14:modId xmlns:p14="http://schemas.microsoft.com/office/powerpoint/2010/main" val="2767489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85" name="think-cell Folie" r:id="rId4" imgW="359" imgH="358" progId="TCLayout.ActiveDocument.1">
                  <p:embed/>
                </p:oleObj>
              </mc:Choice>
              <mc:Fallback>
                <p:oleObj name="think-cell Folie" r:id="rId4" imgW="359" imgH="358" progId="TCLayout.ActiveDocument.1">
                  <p:embed/>
                  <p:pic>
                    <p:nvPicPr>
                      <p:cNvPr id="2" name="Objekt 1" hidden="1">
                        <a:extLst>
                          <a:ext uri="{FF2B5EF4-FFF2-40B4-BE49-F238E27FC236}">
                            <a16:creationId xmlns:a16="http://schemas.microsoft.com/office/drawing/2014/main" id="{551D97F9-74F8-4B80-90E7-20B3D14908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A540A6E-44B3-452A-8635-81299E742E92}"/>
              </a:ext>
            </a:extLst>
          </p:cNvPr>
          <p:cNvSpPr>
            <a:spLocks noGrp="1"/>
          </p:cNvSpPr>
          <p:nvPr>
            <p:ph type="dt" sz="half" idx="10"/>
          </p:nvPr>
        </p:nvSpPr>
        <p:spPr bwMode="gray"/>
        <p:txBody>
          <a:bodyPr/>
          <a:lstStyle>
            <a:lvl1pPr rtl="0">
              <a:defRPr/>
            </a:lvl1pPr>
          </a:lstStyle>
          <a:p>
            <a:fld id="{8754DF55-2CEF-4204-AD12-3782858F190E}" type="datetime1">
              <a:rPr lang="en-US"/>
              <a:t>1/16/2022</a:t>
            </a:fld>
            <a:endParaRPr lang="en-US" dirty="0"/>
          </a:p>
        </p:txBody>
      </p:sp>
      <p:sp>
        <p:nvSpPr>
          <p:cNvPr id="5" name="Slide Number Placeholder 4">
            <a:extLst>
              <a:ext uri="{FF2B5EF4-FFF2-40B4-BE49-F238E27FC236}">
                <a16:creationId xmlns:a16="http://schemas.microsoft.com/office/drawing/2014/main" id="{3C49F892-46C7-44B5-8A70-4419895B07C9}"/>
              </a:ext>
            </a:extLst>
          </p:cNvPr>
          <p:cNvSpPr>
            <a:spLocks noGrp="1"/>
          </p:cNvSpPr>
          <p:nvPr>
            <p:ph type="sldNum" sz="quarter" idx="11"/>
          </p:nvPr>
        </p:nvSpPr>
        <p:spPr bwMode="gray"/>
        <p:txBody>
          <a:bodyPr/>
          <a:lstStyle>
            <a:lvl1pPr rtl="0">
              <a:defRPr/>
            </a:lvl1pPr>
          </a:lstStyle>
          <a:p>
            <a:fld id="{62CB3E74-FC4B-418A-B5F6-72ED80208EB2}" type="slidenum">
              <a:rPr lang="en-US"/>
              <a:pPr/>
              <a:t>‹#›</a:t>
            </a:fld>
            <a:endParaRPr lang="en-US" dirty="0"/>
          </a:p>
        </p:txBody>
      </p:sp>
    </p:spTree>
    <p:extLst>
      <p:ext uri="{BB962C8B-B14F-4D97-AF65-F5344CB8AC3E}">
        <p14:creationId xmlns:p14="http://schemas.microsoft.com/office/powerpoint/2010/main" val="6845051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 Blue">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573CF97-BCE0-4276-B8FE-BC8ED691AD1C}"/>
              </a:ext>
            </a:extLst>
          </p:cNvPr>
          <p:cNvGraphicFramePr>
            <a:graphicFrameLocks noChangeAspect="1"/>
          </p:cNvGraphicFramePr>
          <p:nvPr userDrawn="1">
            <p:custDataLst>
              <p:tags r:id="rId2"/>
            </p:custDataLst>
            <p:extLst>
              <p:ext uri="{D42A27DB-BD31-4B8C-83A1-F6EECF244321}">
                <p14:modId xmlns:p14="http://schemas.microsoft.com/office/powerpoint/2010/main" val="2485399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09" name="think-cell Folie" r:id="rId4" imgW="359" imgH="358" progId="TCLayout.ActiveDocument.1">
                  <p:embed/>
                </p:oleObj>
              </mc:Choice>
              <mc:Fallback>
                <p:oleObj name="think-cell Folie" r:id="rId4" imgW="359" imgH="358" progId="TCLayout.ActiveDocument.1">
                  <p:embed/>
                  <p:pic>
                    <p:nvPicPr>
                      <p:cNvPr id="3" name="Objekt 2" hidden="1">
                        <a:extLst>
                          <a:ext uri="{FF2B5EF4-FFF2-40B4-BE49-F238E27FC236}">
                            <a16:creationId xmlns:a16="http://schemas.microsoft.com/office/drawing/2014/main" id="{5573CF97-BCE0-4276-B8FE-BC8ED691AD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MIO_VALID_LAYOUT">
            <a:extLst>
              <a:ext uri="{FF2B5EF4-FFF2-40B4-BE49-F238E27FC236}">
                <a16:creationId xmlns:a16="http://schemas.microsoft.com/office/drawing/2014/main" id="{5AA293F3-CFE1-47F6-B8BD-3D9D0C7A6E16}"/>
              </a:ext>
            </a:extLst>
          </p:cNvPr>
          <p:cNvSpPr/>
          <p:nvPr/>
        </p:nvSpPr>
        <p:spPr bwMode="gray">
          <a:xfrm>
            <a:off x="11744853" y="6586858"/>
            <a:ext cx="447147"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rtl="0">
              <a:spcBef>
                <a:spcPts val="300"/>
              </a:spcBef>
              <a:spcAft>
                <a:spcPts val="300"/>
              </a:spcAft>
              <a:buClr>
                <a:schemeClr val="bg1"/>
              </a:buClr>
              <a:buSzPct val="100000"/>
              <a:buFont typeface="Arial" panose="020B0604020202020204" pitchFamily="34" charset="0"/>
              <a:buNone/>
            </a:pPr>
            <a:endParaRPr lang="en-US" sz="1600" kern="0" dirty="0">
              <a:solidFill>
                <a:schemeClr val="tx1"/>
              </a:solidFill>
              <a:latin typeface="+mn-lt"/>
            </a:endParaRPr>
          </a:p>
        </p:txBody>
      </p:sp>
      <p:pic>
        <p:nvPicPr>
          <p:cNvPr id="8" name="Grafik 7">
            <a:extLst>
              <a:ext uri="{FF2B5EF4-FFF2-40B4-BE49-F238E27FC236}">
                <a16:creationId xmlns:a16="http://schemas.microsoft.com/office/drawing/2014/main" id="{5BE625D3-CADF-46B6-83C2-5B8A0EFA38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bwMode="gray">
          <a:xfrm>
            <a:off x="601200" y="6376596"/>
            <a:ext cx="576000" cy="124679"/>
          </a:xfrm>
          <a:prstGeom prst="rect">
            <a:avLst/>
          </a:prstGeom>
        </p:spPr>
      </p:pic>
      <p:sp>
        <p:nvSpPr>
          <p:cNvPr id="2" name="Datumsplatzhalter 1">
            <a:extLst>
              <a:ext uri="{FF2B5EF4-FFF2-40B4-BE49-F238E27FC236}">
                <a16:creationId xmlns:a16="http://schemas.microsoft.com/office/drawing/2014/main" id="{6204C88F-9BBE-484C-908A-A261CD9F5F51}"/>
              </a:ext>
            </a:extLst>
          </p:cNvPr>
          <p:cNvSpPr>
            <a:spLocks noGrp="1"/>
          </p:cNvSpPr>
          <p:nvPr>
            <p:ph type="dt" sz="half" idx="14"/>
          </p:nvPr>
        </p:nvSpPr>
        <p:spPr bwMode="gray"/>
        <p:txBody>
          <a:bodyPr/>
          <a:lstStyle>
            <a:lvl1pPr rtl="0">
              <a:defRPr/>
            </a:lvl1pPr>
          </a:lstStyle>
          <a:p>
            <a:fld id="{D7B0495E-59C9-46FD-A0F7-B6466C45E738}" type="datetime1">
              <a:rPr lang="en-US"/>
              <a:t>1/16/2022</a:t>
            </a:fld>
            <a:endParaRPr lang="en-US" dirty="0"/>
          </a:p>
        </p:txBody>
      </p:sp>
      <p:sp>
        <p:nvSpPr>
          <p:cNvPr id="9" name="Foliennummernplatzhalter 8">
            <a:extLst>
              <a:ext uri="{FF2B5EF4-FFF2-40B4-BE49-F238E27FC236}">
                <a16:creationId xmlns:a16="http://schemas.microsoft.com/office/drawing/2014/main" id="{2A877C47-CE57-429E-A5FB-76313E664A87}"/>
              </a:ext>
            </a:extLst>
          </p:cNvPr>
          <p:cNvSpPr>
            <a:spLocks noGrp="1"/>
          </p:cNvSpPr>
          <p:nvPr>
            <p:ph type="sldNum" sz="quarter" idx="15"/>
          </p:nvPr>
        </p:nvSpPr>
        <p:spPr bwMode="gray"/>
        <p:txBody>
          <a:bodyPr/>
          <a:lstStyle>
            <a:lvl1pPr rtl="0">
              <a:defRPr/>
            </a:lvl1pPr>
          </a:lstStyle>
          <a:p>
            <a:fld id="{62CB3E74-FC4B-418A-B5F6-72ED80208EB2}" type="slidenum">
              <a:rPr lang="en-US"/>
              <a:pPr/>
              <a:t>‹#›</a:t>
            </a:fld>
            <a:endParaRPr lang="en-US" dirty="0"/>
          </a:p>
        </p:txBody>
      </p:sp>
    </p:spTree>
    <p:extLst>
      <p:ext uri="{BB962C8B-B14F-4D97-AF65-F5344CB8AC3E}">
        <p14:creationId xmlns:p14="http://schemas.microsoft.com/office/powerpoint/2010/main" val="12746056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1" orient="horz" pos="459">
          <p15:clr>
            <a:srgbClr val="F26B43"/>
          </p15:clr>
        </p15:guide>
        <p15:guide id="12" orient="horz" pos="3861">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acts | Big pictures">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EA7D5F-227A-494A-AE16-37B3633D6478}"/>
              </a:ext>
            </a:extLst>
          </p:cNvPr>
          <p:cNvGraphicFramePr>
            <a:graphicFrameLocks noChangeAspect="1"/>
          </p:cNvGraphicFramePr>
          <p:nvPr userDrawn="1">
            <p:custDataLst>
              <p:tags r:id="rId2"/>
            </p:custDataLst>
            <p:extLst>
              <p:ext uri="{D42A27DB-BD31-4B8C-83A1-F6EECF244321}">
                <p14:modId xmlns:p14="http://schemas.microsoft.com/office/powerpoint/2010/main" val="1605258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33" name="think-cell Folie" r:id="rId4" imgW="359" imgH="358" progId="TCLayout.ActiveDocument.1">
                  <p:embed/>
                </p:oleObj>
              </mc:Choice>
              <mc:Fallback>
                <p:oleObj name="think-cell Folie" r:id="rId4" imgW="359" imgH="358" progId="TCLayout.ActiveDocument.1">
                  <p:embed/>
                  <p:pic>
                    <p:nvPicPr>
                      <p:cNvPr id="7" name="Objekt 6" hidden="1">
                        <a:extLst>
                          <a:ext uri="{FF2B5EF4-FFF2-40B4-BE49-F238E27FC236}">
                            <a16:creationId xmlns:a16="http://schemas.microsoft.com/office/drawing/2014/main" id="{2CEA7D5F-227A-494A-AE16-37B3633D64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hasCustomPrompt="1"/>
          </p:nvPr>
        </p:nvSpPr>
        <p:spPr bwMode="gray">
          <a:xfrm>
            <a:off x="0" y="0"/>
            <a:ext cx="5627688" cy="6129338"/>
          </a:xfrm>
          <a:solidFill>
            <a:srgbClr val="666666"/>
          </a:solidFill>
        </p:spPr>
        <p:txBody>
          <a:bodyPr anchor="ctr"/>
          <a:lstStyle>
            <a:lvl1pPr algn="ctr" rtl="0">
              <a:defRPr sz="1400">
                <a:solidFill>
                  <a:schemeClr val="bg1"/>
                </a:solidFill>
              </a:defRPr>
            </a:lvl1pPr>
          </a:lstStyle>
          <a:p>
            <a:r>
              <a:rPr lang="en-US" noProof="0" dirty="0"/>
              <a:t> </a:t>
            </a:r>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hasCustomPrompt="1"/>
          </p:nvPr>
        </p:nvSpPr>
        <p:spPr bwMode="gray">
          <a:xfrm>
            <a:off x="5627688" y="0"/>
            <a:ext cx="5976937" cy="6129338"/>
          </a:xfrm>
          <a:solidFill>
            <a:srgbClr val="AFAFAF"/>
          </a:solidFill>
        </p:spPr>
        <p:txBody>
          <a:bodyPr anchor="ctr"/>
          <a:lstStyle>
            <a:lvl1pPr algn="ctr" rtl="0">
              <a:defRPr sz="1400">
                <a:solidFill>
                  <a:schemeClr val="bg1"/>
                </a:solidFill>
              </a:defRPr>
            </a:lvl1pPr>
          </a:lstStyle>
          <a:p>
            <a:r>
              <a:rPr lang="en-US" noProof="0" dirty="0"/>
              <a:t> </a:t>
            </a:r>
          </a:p>
        </p:txBody>
      </p:sp>
      <p:sp>
        <p:nvSpPr>
          <p:cNvPr id="2" name="Titel 1">
            <a:extLst>
              <a:ext uri="{FF2B5EF4-FFF2-40B4-BE49-F238E27FC236}">
                <a16:creationId xmlns:a16="http://schemas.microsoft.com/office/drawing/2014/main" id="{0DFFA6D0-AB8A-4F44-9727-A1CE86F10CC6}"/>
              </a:ext>
            </a:extLst>
          </p:cNvPr>
          <p:cNvSpPr>
            <a:spLocks noGrp="1"/>
          </p:cNvSpPr>
          <p:nvPr>
            <p:ph type="title" hasCustomPrompt="1"/>
          </p:nvPr>
        </p:nvSpPr>
        <p:spPr bwMode="gray"/>
        <p:txBody>
          <a:bodyPr vert="horz"/>
          <a:lstStyle>
            <a:lvl1pPr rtl="0">
              <a:defRPr>
                <a:solidFill>
                  <a:schemeClr val="bg1"/>
                </a:solidFill>
              </a:defRPr>
            </a:lvl1pPr>
          </a:lstStyle>
          <a:p>
            <a:r>
              <a:rPr lang="en-US" noProof="0" dirty="0"/>
              <a:t>Click to edit Master title style</a:t>
            </a:r>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bwMode="gray">
          <a:xfrm>
            <a:off x="587375" y="1484313"/>
            <a:ext cx="2664000" cy="2160587"/>
          </a:xfrm>
        </p:spPr>
        <p:txBody>
          <a:bodyPr/>
          <a:lstStyle>
            <a:lvl1pPr marL="0" indent="0" rtl="0">
              <a:lnSpc>
                <a:spcPct val="110000"/>
              </a:lnSpc>
              <a:spcAft>
                <a:spcPts val="0"/>
              </a:spcAft>
              <a:buFont typeface="Arial" panose="020B0604020202020204" pitchFamily="34" charset="0"/>
              <a:buNone/>
              <a:tabLst>
                <a:tab pos="449263" algn="l"/>
              </a:tabLst>
              <a:defRPr sz="1400">
                <a:solidFill>
                  <a:schemeClr val="bg1"/>
                </a:solidFill>
              </a:defRPr>
            </a:lvl1pPr>
            <a:lvl2pPr marL="0" indent="0" rtl="0">
              <a:lnSpc>
                <a:spcPct val="110000"/>
              </a:lnSpc>
              <a:spcAft>
                <a:spcPts val="0"/>
              </a:spcAft>
              <a:buNone/>
              <a:tabLst>
                <a:tab pos="449263" algn="l"/>
              </a:tabLst>
              <a:defRPr sz="1400" b="1">
                <a:solidFill>
                  <a:schemeClr val="bg1"/>
                </a:solidFill>
              </a:defRPr>
            </a:lvl2pPr>
            <a:lvl3pPr marL="0" indent="0" rtl="0">
              <a:lnSpc>
                <a:spcPct val="110000"/>
              </a:lnSpc>
              <a:spcAft>
                <a:spcPts val="0"/>
              </a:spcAft>
              <a:buNone/>
              <a:tabLst>
                <a:tab pos="449263" algn="l"/>
              </a:tabLst>
              <a:defRPr sz="1400">
                <a:solidFill>
                  <a:schemeClr val="tx2"/>
                </a:solidFill>
              </a:defRPr>
            </a:lvl3pPr>
            <a:lvl4pPr marL="0" indent="0">
              <a:lnSpc>
                <a:spcPct val="110000"/>
              </a:lnSpc>
              <a:spcAft>
                <a:spcPts val="0"/>
              </a:spcAft>
              <a:buFont typeface="Arial" panose="020B0604020202020204" pitchFamily="34" charset="0"/>
              <a:buNone/>
              <a:defRPr sz="1400">
                <a:solidFill>
                  <a:schemeClr val="tx2"/>
                </a:solidFill>
              </a:defRPr>
            </a:lvl4pPr>
            <a:lvl5pPr marL="0" indent="0">
              <a:lnSpc>
                <a:spcPct val="110000"/>
              </a:lnSpc>
              <a:spcAft>
                <a:spcPts val="0"/>
              </a:spcAft>
              <a:buNone/>
              <a:defRPr sz="1400">
                <a:solidFill>
                  <a:schemeClr val="tx2"/>
                </a:solidFill>
              </a:defRPr>
            </a:lvl5pPr>
            <a:lvl6pPr marL="0" indent="0">
              <a:lnSpc>
                <a:spcPct val="110000"/>
              </a:lnSpc>
              <a:spcAft>
                <a:spcPts val="0"/>
              </a:spcAft>
              <a:buNone/>
              <a:defRPr sz="1400">
                <a:solidFill>
                  <a:schemeClr val="tx2"/>
                </a:solidFill>
              </a:defRPr>
            </a:lvl6pPr>
            <a:lvl7pPr marL="0" indent="0">
              <a:lnSpc>
                <a:spcPct val="110000"/>
              </a:lnSpc>
              <a:spcAft>
                <a:spcPts val="0"/>
              </a:spcAft>
              <a:buFont typeface="Arial" panose="020B0604020202020204" pitchFamily="34" charset="0"/>
              <a:buNone/>
              <a:defRPr sz="1400">
                <a:solidFill>
                  <a:schemeClr val="tx2"/>
                </a:solidFill>
              </a:defRPr>
            </a:lvl7pPr>
            <a:lvl8pPr marL="0" indent="0">
              <a:lnSpc>
                <a:spcPct val="110000"/>
              </a:lnSpc>
              <a:spcAft>
                <a:spcPts val="0"/>
              </a:spcAft>
              <a:buNone/>
              <a:defRPr sz="1400">
                <a:solidFill>
                  <a:schemeClr val="tx2"/>
                </a:solidFill>
              </a:defRPr>
            </a:lvl8pPr>
            <a:lvl9pPr marL="0" indent="0">
              <a:lnSpc>
                <a:spcPct val="110000"/>
              </a:lnSpc>
              <a:spcAft>
                <a:spcPts val="0"/>
              </a:spcAft>
              <a:buNone/>
              <a:defRPr sz="1400">
                <a:solidFill>
                  <a:schemeClr val="tx2"/>
                </a:solidFill>
              </a:defRPr>
            </a:lvl9pPr>
          </a:lstStyle>
          <a:p>
            <a:pPr lvl="0"/>
            <a:r>
              <a:rPr lang="en-US" noProof="0" dirty="0"/>
              <a:t>Level 1</a:t>
            </a:r>
          </a:p>
          <a:p>
            <a:pPr lvl="1"/>
            <a:r>
              <a:rPr lang="en-US" noProof="0" dirty="0"/>
              <a:t>Level 2</a:t>
            </a:r>
          </a:p>
          <a:p>
            <a:pPr lvl="2"/>
            <a:r>
              <a:rPr lang="en-US" noProof="0" dirty="0"/>
              <a:t>Level 3</a:t>
            </a:r>
          </a:p>
          <a:p>
            <a:pPr lvl="2"/>
            <a:endParaRPr lang="en-US" noProof="0" dirty="0"/>
          </a:p>
        </p:txBody>
      </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bwMode="gray">
          <a:xfrm>
            <a:off x="6203950" y="1484313"/>
            <a:ext cx="2664000" cy="2160587"/>
          </a:xfrm>
        </p:spPr>
        <p:txBody>
          <a:bodyPr/>
          <a:lstStyle>
            <a:lvl1pPr marL="0" indent="0" rtl="0">
              <a:spcAft>
                <a:spcPts val="0"/>
              </a:spcAft>
              <a:buFont typeface="Arial" panose="020B0604020202020204" pitchFamily="34" charset="0"/>
              <a:buNone/>
              <a:tabLst>
                <a:tab pos="449263" algn="l"/>
              </a:tabLst>
              <a:defRPr sz="1400">
                <a:solidFill>
                  <a:schemeClr val="bg1"/>
                </a:solidFill>
              </a:defRPr>
            </a:lvl1pPr>
            <a:lvl2pPr marL="0" indent="0" rtl="0">
              <a:spcAft>
                <a:spcPts val="0"/>
              </a:spcAft>
              <a:buNone/>
              <a:tabLst>
                <a:tab pos="449263" algn="l"/>
              </a:tabLst>
              <a:defRPr sz="1400" b="1">
                <a:solidFill>
                  <a:schemeClr val="bg1"/>
                </a:solidFill>
              </a:defRPr>
            </a:lvl2pPr>
            <a:lvl3pPr marL="0" indent="0" rtl="0">
              <a:spcAft>
                <a:spcPts val="0"/>
              </a:spcAft>
              <a:buNone/>
              <a:tabLst>
                <a:tab pos="449263" algn="l"/>
              </a:tabLst>
              <a:defRPr sz="1400">
                <a:solidFill>
                  <a:schemeClr val="tx2"/>
                </a:solidFill>
              </a:defRPr>
            </a:lvl3pPr>
            <a:lvl4pPr marL="0" indent="0">
              <a:spcAft>
                <a:spcPts val="0"/>
              </a:spcAft>
              <a:buFont typeface="Arial" panose="020B0604020202020204" pitchFamily="34" charset="0"/>
              <a:buNone/>
              <a:defRPr sz="1400">
                <a:solidFill>
                  <a:schemeClr val="tx2"/>
                </a:solidFill>
              </a:defRPr>
            </a:lvl4pPr>
            <a:lvl5pPr marL="0" indent="0">
              <a:spcAft>
                <a:spcPts val="0"/>
              </a:spcAft>
              <a:buNone/>
              <a:defRPr sz="1400">
                <a:solidFill>
                  <a:schemeClr val="tx2"/>
                </a:solidFill>
              </a:defRPr>
            </a:lvl5pPr>
            <a:lvl6pPr marL="0" indent="0">
              <a:spcAft>
                <a:spcPts val="0"/>
              </a:spcAft>
              <a:buNone/>
              <a:defRPr sz="1400">
                <a:solidFill>
                  <a:schemeClr val="tx2"/>
                </a:solidFill>
              </a:defRPr>
            </a:lvl6pPr>
            <a:lvl7pPr marL="0" indent="0">
              <a:spcAft>
                <a:spcPts val="0"/>
              </a:spcAft>
              <a:buFont typeface="Arial" panose="020B0604020202020204" pitchFamily="34" charset="0"/>
              <a:buNone/>
              <a:defRPr sz="1400">
                <a:solidFill>
                  <a:schemeClr val="tx2"/>
                </a:solidFill>
              </a:defRPr>
            </a:lvl7pPr>
            <a:lvl8pPr marL="0" indent="0">
              <a:spcAft>
                <a:spcPts val="0"/>
              </a:spcAft>
              <a:buNone/>
              <a:defRPr sz="1400">
                <a:solidFill>
                  <a:schemeClr val="tx2"/>
                </a:solidFill>
              </a:defRPr>
            </a:lvl8pPr>
            <a:lvl9pPr marL="0" indent="0">
              <a:spcAft>
                <a:spcPts val="0"/>
              </a:spcAft>
              <a:buNone/>
              <a:defRPr sz="1400">
                <a:solidFill>
                  <a:schemeClr val="tx2"/>
                </a:solidFill>
              </a:defRPr>
            </a:lvl9pPr>
          </a:lstStyle>
          <a:p>
            <a:pPr lvl="0"/>
            <a:r>
              <a:rPr lang="en-US" noProof="0" dirty="0"/>
              <a:t>Level 1</a:t>
            </a:r>
          </a:p>
          <a:p>
            <a:pPr lvl="1"/>
            <a:r>
              <a:rPr lang="en-US" noProof="0" dirty="0"/>
              <a:t>Level 2</a:t>
            </a:r>
          </a:p>
          <a:p>
            <a:pPr lvl="2"/>
            <a:r>
              <a:rPr lang="en-US" noProof="0" dirty="0"/>
              <a:t>Level 3</a:t>
            </a:r>
          </a:p>
          <a:p>
            <a:pPr lvl="2"/>
            <a:endParaRPr lang="en-US" noProof="0" dirty="0"/>
          </a:p>
        </p:txBody>
      </p:sp>
      <p:sp>
        <p:nvSpPr>
          <p:cNvPr id="3" name="Date Placeholder 2">
            <a:extLst>
              <a:ext uri="{FF2B5EF4-FFF2-40B4-BE49-F238E27FC236}">
                <a16:creationId xmlns:a16="http://schemas.microsoft.com/office/drawing/2014/main" id="{875268E5-76E9-487E-9024-A97441E2BB65}"/>
              </a:ext>
            </a:extLst>
          </p:cNvPr>
          <p:cNvSpPr>
            <a:spLocks noGrp="1"/>
          </p:cNvSpPr>
          <p:nvPr>
            <p:ph type="dt" sz="half" idx="16"/>
          </p:nvPr>
        </p:nvSpPr>
        <p:spPr bwMode="gray"/>
        <p:txBody>
          <a:bodyPr/>
          <a:lstStyle>
            <a:lvl1pPr rtl="0">
              <a:defRPr/>
            </a:lvl1pPr>
          </a:lstStyle>
          <a:p>
            <a:fld id="{94D8AE47-1C42-4B39-B8D0-E4D4F1E09C15}" type="datetime1">
              <a:rPr lang="en-US"/>
              <a:t>1/16/2022</a:t>
            </a:fld>
            <a:endParaRPr lang="en-US" dirty="0"/>
          </a:p>
        </p:txBody>
      </p:sp>
      <p:sp>
        <p:nvSpPr>
          <p:cNvPr id="8" name="Slide Number Placeholder 7">
            <a:extLst>
              <a:ext uri="{FF2B5EF4-FFF2-40B4-BE49-F238E27FC236}">
                <a16:creationId xmlns:a16="http://schemas.microsoft.com/office/drawing/2014/main" id="{D5A4B27C-A892-4022-8BEF-3D68BA6C44BE}"/>
              </a:ext>
            </a:extLst>
          </p:cNvPr>
          <p:cNvSpPr>
            <a:spLocks noGrp="1"/>
          </p:cNvSpPr>
          <p:nvPr>
            <p:ph type="sldNum" sz="quarter" idx="17"/>
          </p:nvPr>
        </p:nvSpPr>
        <p:spPr bwMode="gray"/>
        <p:txBody>
          <a:bodyPr/>
          <a:lstStyle>
            <a:lvl1pPr rtl="0">
              <a:defRPr/>
            </a:lvl1pPr>
          </a:lstStyle>
          <a:p>
            <a:fld id="{62CB3E74-FC4B-418A-B5F6-72ED80208EB2}" type="slidenum">
              <a:rPr lang="en-US"/>
              <a:pPr/>
              <a:t>‹#›</a:t>
            </a:fld>
            <a:endParaRPr lang="en-US" dirty="0"/>
          </a:p>
        </p:txBody>
      </p:sp>
    </p:spTree>
    <p:extLst>
      <p:ext uri="{BB962C8B-B14F-4D97-AF65-F5344CB8AC3E}">
        <p14:creationId xmlns:p14="http://schemas.microsoft.com/office/powerpoint/2010/main" val="4011010810"/>
      </p:ext>
    </p:extLst>
  </p:cSld>
  <p:clrMapOvr>
    <a:masterClrMapping/>
  </p:clrMapOvr>
  <p:extLst>
    <p:ext uri="{DCECCB84-F9BA-43D5-87BE-67443E8EF086}">
      <p15:sldGuideLst xmlns:p15="http://schemas.microsoft.com/office/powerpoint/2012/main">
        <p15:guide id="1" pos="1549">
          <p15:clr>
            <a:srgbClr val="FBAE40"/>
          </p15:clr>
        </p15:guide>
        <p15:guide id="2" pos="3545">
          <p15:clr>
            <a:srgbClr val="FBAE40"/>
          </p15:clr>
        </p15:guide>
        <p15:guide id="3" pos="5360">
          <p15:clr>
            <a:srgbClr val="FBAE40"/>
          </p15:clr>
        </p15:guide>
        <p15:guide id="5" orient="horz" pos="229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akts | Small pictur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6FA91EE-678A-421A-AC2F-568888F5D5E2}"/>
              </a:ext>
            </a:extLst>
          </p:cNvPr>
          <p:cNvGraphicFramePr>
            <a:graphicFrameLocks noChangeAspect="1"/>
          </p:cNvGraphicFramePr>
          <p:nvPr userDrawn="1">
            <p:custDataLst>
              <p:tags r:id="rId2"/>
            </p:custDataLst>
            <p:extLst>
              <p:ext uri="{D42A27DB-BD31-4B8C-83A1-F6EECF244321}">
                <p14:modId xmlns:p14="http://schemas.microsoft.com/office/powerpoint/2010/main" val="3851641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57" name="think-cell Folie" r:id="rId4" imgW="359" imgH="358" progId="TCLayout.ActiveDocument.1">
                  <p:embed/>
                </p:oleObj>
              </mc:Choice>
              <mc:Fallback>
                <p:oleObj name="think-cell Folie" r:id="rId4" imgW="359" imgH="358" progId="TCLayout.ActiveDocument.1">
                  <p:embed/>
                  <p:pic>
                    <p:nvPicPr>
                      <p:cNvPr id="7" name="Objekt 6" hidden="1">
                        <a:extLst>
                          <a:ext uri="{FF2B5EF4-FFF2-40B4-BE49-F238E27FC236}">
                            <a16:creationId xmlns:a16="http://schemas.microsoft.com/office/drawing/2014/main" id="{06FA91EE-678A-421A-AC2F-568888F5D5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DFFA6D0-AB8A-4F44-9727-A1CE86F10CC6}"/>
              </a:ext>
            </a:extLst>
          </p:cNvPr>
          <p:cNvSpPr>
            <a:spLocks noGrp="1"/>
          </p:cNvSpPr>
          <p:nvPr>
            <p:ph type="title" hasCustomPrompt="1"/>
          </p:nvPr>
        </p:nvSpPr>
        <p:spPr bwMode="gray"/>
        <p:txBody>
          <a:bodyPr vert="horz"/>
          <a:lstStyle>
            <a:lvl1pPr rtl="0">
              <a:defRPr/>
            </a:lvl1pPr>
          </a:lstStyle>
          <a:p>
            <a:r>
              <a:rPr lang="en-US" noProof="0" dirty="0"/>
              <a:t>Click to edit Master title style</a:t>
            </a:r>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bwMode="gray">
          <a:xfrm>
            <a:off x="2892424" y="1484313"/>
            <a:ext cx="2664000" cy="2160587"/>
          </a:xfrm>
        </p:spPr>
        <p:txBody>
          <a:bodyPr/>
          <a:lstStyle>
            <a:lvl1pPr marL="0" indent="0" rtl="0">
              <a:spcAft>
                <a:spcPts val="0"/>
              </a:spcAft>
              <a:buFont typeface="Arial" panose="020B0604020202020204" pitchFamily="34" charset="0"/>
              <a:buNone/>
              <a:tabLst>
                <a:tab pos="449263" algn="l"/>
              </a:tabLst>
              <a:defRPr sz="1400"/>
            </a:lvl1pPr>
            <a:lvl2pPr marL="0" indent="0" rtl="0">
              <a:spcAft>
                <a:spcPts val="0"/>
              </a:spcAft>
              <a:buNone/>
              <a:tabLst>
                <a:tab pos="449263" algn="l"/>
              </a:tabLst>
              <a:defRPr sz="1400" b="1"/>
            </a:lvl2pPr>
            <a:lvl3pPr marL="0" indent="0" rtl="0">
              <a:spcAft>
                <a:spcPts val="0"/>
              </a:spcAft>
              <a:buNone/>
              <a:tabLst>
                <a:tab pos="449263" algn="l"/>
              </a:tabLst>
              <a:defRPr sz="1400">
                <a:solidFill>
                  <a:schemeClr val="tx2"/>
                </a:solidFill>
              </a:defRPr>
            </a:lvl3pPr>
            <a:lvl4pPr marL="0" indent="0">
              <a:spcAft>
                <a:spcPts val="0"/>
              </a:spcAft>
              <a:buFont typeface="Arial" panose="020B0604020202020204" pitchFamily="34" charset="0"/>
              <a:buNone/>
              <a:defRPr sz="1400">
                <a:solidFill>
                  <a:schemeClr val="tx2"/>
                </a:solidFill>
              </a:defRPr>
            </a:lvl4pPr>
            <a:lvl5pPr marL="0" indent="0">
              <a:spcAft>
                <a:spcPts val="0"/>
              </a:spcAft>
              <a:buNone/>
              <a:defRPr sz="1400">
                <a:solidFill>
                  <a:schemeClr val="tx2"/>
                </a:solidFill>
              </a:defRPr>
            </a:lvl5pPr>
            <a:lvl6pPr marL="0" indent="0">
              <a:spcAft>
                <a:spcPts val="0"/>
              </a:spcAft>
              <a:buNone/>
              <a:defRPr sz="1400">
                <a:solidFill>
                  <a:schemeClr val="tx2"/>
                </a:solidFill>
              </a:defRPr>
            </a:lvl6pPr>
            <a:lvl7pPr marL="0" indent="0">
              <a:spcAft>
                <a:spcPts val="0"/>
              </a:spcAft>
              <a:buFont typeface="Arial" panose="020B0604020202020204" pitchFamily="34" charset="0"/>
              <a:buNone/>
              <a:defRPr sz="1400">
                <a:solidFill>
                  <a:schemeClr val="tx2"/>
                </a:solidFill>
              </a:defRPr>
            </a:lvl7pPr>
            <a:lvl8pPr marL="0" indent="0">
              <a:spcAft>
                <a:spcPts val="0"/>
              </a:spcAft>
              <a:buNone/>
              <a:defRPr sz="1400">
                <a:solidFill>
                  <a:schemeClr val="tx2"/>
                </a:solidFill>
              </a:defRPr>
            </a:lvl8pPr>
            <a:lvl9pPr marL="0" indent="0">
              <a:spcAft>
                <a:spcPts val="0"/>
              </a:spcAft>
              <a:buNone/>
              <a:defRPr sz="1400">
                <a:solidFill>
                  <a:schemeClr val="tx2"/>
                </a:solidFill>
              </a:defRPr>
            </a:lvl9pPr>
          </a:lstStyle>
          <a:p>
            <a:pPr lvl="0"/>
            <a:r>
              <a:rPr lang="en-US" noProof="0" dirty="0"/>
              <a:t>Level 1</a:t>
            </a:r>
          </a:p>
          <a:p>
            <a:pPr lvl="1"/>
            <a:r>
              <a:rPr lang="en-US" noProof="0" dirty="0"/>
              <a:t>Level 2</a:t>
            </a:r>
          </a:p>
          <a:p>
            <a:pPr lvl="2"/>
            <a:r>
              <a:rPr lang="en-US" noProof="0" dirty="0"/>
              <a:t>Level 3</a:t>
            </a:r>
          </a:p>
          <a:p>
            <a:pPr lvl="2"/>
            <a:endParaRPr lang="en-US" noProof="0" dirty="0"/>
          </a:p>
        </p:txBody>
      </p:sp>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bwMode="gray">
          <a:xfrm>
            <a:off x="587374" y="1484313"/>
            <a:ext cx="1872221" cy="2160587"/>
          </a:xfrm>
          <a:solidFill>
            <a:schemeClr val="bg2">
              <a:lumMod val="50000"/>
            </a:schemeClr>
          </a:solidFill>
        </p:spPr>
        <p:txBody>
          <a:bodyPr anchor="ctr"/>
          <a:lstStyle>
            <a:lvl1pPr algn="ctr">
              <a:defRPr sz="1400">
                <a:solidFill>
                  <a:schemeClr val="bg1"/>
                </a:solidFill>
              </a:defRPr>
            </a:lvl1pPr>
          </a:lstStyle>
          <a:p>
            <a:endParaRPr lang="en-US" noProof="0" dirty="0"/>
          </a:p>
        </p:txBody>
      </p:sp>
      <p:grpSp>
        <p:nvGrpSpPr>
          <p:cNvPr id="25" name="Gruppieren 24">
            <a:extLst>
              <a:ext uri="{FF2B5EF4-FFF2-40B4-BE49-F238E27FC236}">
                <a16:creationId xmlns:a16="http://schemas.microsoft.com/office/drawing/2014/main" id="{AA95A97E-1E87-4F79-A043-06CBF137AABE}"/>
              </a:ext>
            </a:extLst>
          </p:cNvPr>
          <p:cNvGrpSpPr>
            <a:grpSpLocks noChangeAspect="1"/>
          </p:cNvGrpSpPr>
          <p:nvPr/>
        </p:nvGrpSpPr>
        <p:grpSpPr bwMode="gray">
          <a:xfrm>
            <a:off x="7716180" y="4437112"/>
            <a:ext cx="2420888" cy="2420888"/>
            <a:chOff x="7378960" y="4000500"/>
            <a:chExt cx="2857500" cy="2857500"/>
          </a:xfrm>
        </p:grpSpPr>
        <p:sp>
          <p:nvSpPr>
            <p:cNvPr id="26" name="Freihandform: Form 25">
              <a:extLst>
                <a:ext uri="{FF2B5EF4-FFF2-40B4-BE49-F238E27FC236}">
                  <a16:creationId xmlns:a16="http://schemas.microsoft.com/office/drawing/2014/main" id="{AEB79B26-1FBB-479D-8E44-92841E4D7A6D}"/>
                </a:ext>
              </a:extLst>
            </p:cNvPr>
            <p:cNvSpPr/>
            <p:nvPr/>
          </p:nvSpPr>
          <p:spPr bwMode="gray">
            <a:xfrm>
              <a:off x="9283960" y="5905500"/>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pPr rtl="0"/>
              <a:endParaRPr lang="en-US" noProof="0" dirty="0"/>
            </a:p>
          </p:txBody>
        </p:sp>
        <p:sp>
          <p:nvSpPr>
            <p:cNvPr id="27" name="Freihandform: Form 26">
              <a:extLst>
                <a:ext uri="{FF2B5EF4-FFF2-40B4-BE49-F238E27FC236}">
                  <a16:creationId xmlns:a16="http://schemas.microsoft.com/office/drawing/2014/main" id="{D90B509A-F979-4F50-9148-2866300B9974}"/>
                </a:ext>
              </a:extLst>
            </p:cNvPr>
            <p:cNvSpPr/>
            <p:nvPr/>
          </p:nvSpPr>
          <p:spPr bwMode="gray">
            <a:xfrm>
              <a:off x="7378960" y="4953000"/>
              <a:ext cx="1905000" cy="1905000"/>
            </a:xfrm>
            <a:custGeom>
              <a:avLst/>
              <a:gdLst>
                <a:gd name="connsiteX0" fmla="*/ 952500 w 1905000"/>
                <a:gd name="connsiteY0" fmla="*/ 952500 h 1905000"/>
                <a:gd name="connsiteX1" fmla="*/ 0 w 1905000"/>
                <a:gd name="connsiteY1" fmla="*/ 1905000 h 1905000"/>
                <a:gd name="connsiteX2" fmla="*/ 952500 w 1905000"/>
                <a:gd name="connsiteY2" fmla="*/ 1905000 h 1905000"/>
                <a:gd name="connsiteX3" fmla="*/ 1905000 w 1905000"/>
                <a:gd name="connsiteY3" fmla="*/ 952500 h 1905000"/>
                <a:gd name="connsiteX4" fmla="*/ 1905000 w 1905000"/>
                <a:gd name="connsiteY4" fmla="*/ 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0" h="1905000">
                  <a:moveTo>
                    <a:pt x="952500" y="952500"/>
                  </a:moveTo>
                  <a:lnTo>
                    <a:pt x="0" y="1905000"/>
                  </a:lnTo>
                  <a:lnTo>
                    <a:pt x="952500" y="1905000"/>
                  </a:lnTo>
                  <a:lnTo>
                    <a:pt x="1905000" y="952500"/>
                  </a:lnTo>
                  <a:lnTo>
                    <a:pt x="1905000" y="0"/>
                  </a:lnTo>
                  <a:close/>
                </a:path>
              </a:pathLst>
            </a:custGeom>
            <a:solidFill>
              <a:srgbClr val="201751"/>
            </a:solidFill>
            <a:ln w="9525" cap="flat">
              <a:noFill/>
              <a:prstDash val="solid"/>
              <a:miter/>
            </a:ln>
          </p:spPr>
          <p:txBody>
            <a:bodyPr rtlCol="0" anchor="ctr"/>
            <a:lstStyle/>
            <a:p>
              <a:pPr rtl="0"/>
              <a:endParaRPr lang="en-US" noProof="0" dirty="0"/>
            </a:p>
          </p:txBody>
        </p:sp>
        <p:sp>
          <p:nvSpPr>
            <p:cNvPr id="28" name="Freihandform: Form 27">
              <a:extLst>
                <a:ext uri="{FF2B5EF4-FFF2-40B4-BE49-F238E27FC236}">
                  <a16:creationId xmlns:a16="http://schemas.microsoft.com/office/drawing/2014/main" id="{21039803-5438-4B81-BE01-7A4EED98821A}"/>
                </a:ext>
              </a:extLst>
            </p:cNvPr>
            <p:cNvSpPr/>
            <p:nvPr/>
          </p:nvSpPr>
          <p:spPr bwMode="gray">
            <a:xfrm>
              <a:off x="8331460" y="4000500"/>
              <a:ext cx="952500" cy="1905000"/>
            </a:xfrm>
            <a:custGeom>
              <a:avLst/>
              <a:gdLst>
                <a:gd name="connsiteX0" fmla="*/ 0 w 952500"/>
                <a:gd name="connsiteY0" fmla="*/ 0 h 1905000"/>
                <a:gd name="connsiteX1" fmla="*/ 0 w 952500"/>
                <a:gd name="connsiteY1" fmla="*/ 1905000 h 1905000"/>
                <a:gd name="connsiteX2" fmla="*/ 952500 w 952500"/>
                <a:gd name="connsiteY2" fmla="*/ 952500 h 1905000"/>
              </a:gdLst>
              <a:ahLst/>
              <a:cxnLst>
                <a:cxn ang="0">
                  <a:pos x="connsiteX0" y="connsiteY0"/>
                </a:cxn>
                <a:cxn ang="0">
                  <a:pos x="connsiteX1" y="connsiteY1"/>
                </a:cxn>
                <a:cxn ang="0">
                  <a:pos x="connsiteX2" y="connsiteY2"/>
                </a:cxn>
              </a:cxnLst>
              <a:rect l="l" t="t" r="r" b="b"/>
              <a:pathLst>
                <a:path w="952500" h="1905000">
                  <a:moveTo>
                    <a:pt x="0" y="0"/>
                  </a:moveTo>
                  <a:lnTo>
                    <a:pt x="0" y="1905000"/>
                  </a:lnTo>
                  <a:lnTo>
                    <a:pt x="952500" y="952500"/>
                  </a:lnTo>
                  <a:close/>
                </a:path>
              </a:pathLst>
            </a:custGeom>
            <a:solidFill>
              <a:srgbClr val="00CE7D"/>
            </a:solidFill>
            <a:ln w="9525" cap="flat">
              <a:noFill/>
              <a:prstDash val="solid"/>
              <a:miter/>
            </a:ln>
          </p:spPr>
          <p:txBody>
            <a:bodyPr rtlCol="0" anchor="ctr"/>
            <a:lstStyle/>
            <a:p>
              <a:pPr rtl="0"/>
              <a:endParaRPr lang="en-US" noProof="0" dirty="0"/>
            </a:p>
          </p:txBody>
        </p:sp>
      </p:gr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bwMode="gray">
          <a:xfrm>
            <a:off x="8510028" y="1484313"/>
            <a:ext cx="2664000" cy="2160587"/>
          </a:xfrm>
        </p:spPr>
        <p:txBody>
          <a:bodyPr/>
          <a:lstStyle>
            <a:lvl1pPr marL="0" indent="0" rtl="0">
              <a:spcAft>
                <a:spcPts val="0"/>
              </a:spcAft>
              <a:buFont typeface="Arial" panose="020B0604020202020204" pitchFamily="34" charset="0"/>
              <a:buNone/>
              <a:tabLst>
                <a:tab pos="449263" algn="l"/>
              </a:tabLst>
              <a:defRPr sz="1400"/>
            </a:lvl1pPr>
            <a:lvl2pPr marL="0" indent="0" rtl="0">
              <a:spcAft>
                <a:spcPts val="0"/>
              </a:spcAft>
              <a:buNone/>
              <a:tabLst>
                <a:tab pos="449263" algn="l"/>
              </a:tabLst>
              <a:defRPr sz="1400" b="1"/>
            </a:lvl2pPr>
            <a:lvl3pPr marL="0" indent="0" rtl="0">
              <a:spcAft>
                <a:spcPts val="0"/>
              </a:spcAft>
              <a:buNone/>
              <a:tabLst>
                <a:tab pos="449263" algn="l"/>
              </a:tabLst>
              <a:defRPr sz="1400">
                <a:solidFill>
                  <a:schemeClr val="tx2"/>
                </a:solidFill>
              </a:defRPr>
            </a:lvl3pPr>
            <a:lvl4pPr marL="0" indent="0">
              <a:spcAft>
                <a:spcPts val="0"/>
              </a:spcAft>
              <a:buFont typeface="Arial" panose="020B0604020202020204" pitchFamily="34" charset="0"/>
              <a:buNone/>
              <a:defRPr sz="1400">
                <a:solidFill>
                  <a:schemeClr val="tx2"/>
                </a:solidFill>
              </a:defRPr>
            </a:lvl4pPr>
            <a:lvl5pPr marL="0" indent="0">
              <a:spcAft>
                <a:spcPts val="0"/>
              </a:spcAft>
              <a:buNone/>
              <a:defRPr sz="1400">
                <a:solidFill>
                  <a:schemeClr val="tx2"/>
                </a:solidFill>
              </a:defRPr>
            </a:lvl5pPr>
            <a:lvl6pPr marL="0" indent="0">
              <a:spcAft>
                <a:spcPts val="0"/>
              </a:spcAft>
              <a:buNone/>
              <a:defRPr sz="1400">
                <a:solidFill>
                  <a:schemeClr val="tx2"/>
                </a:solidFill>
              </a:defRPr>
            </a:lvl6pPr>
            <a:lvl7pPr marL="0" indent="0">
              <a:spcAft>
                <a:spcPts val="0"/>
              </a:spcAft>
              <a:buFont typeface="Arial" panose="020B0604020202020204" pitchFamily="34" charset="0"/>
              <a:buNone/>
              <a:defRPr sz="1400">
                <a:solidFill>
                  <a:schemeClr val="tx2"/>
                </a:solidFill>
              </a:defRPr>
            </a:lvl7pPr>
            <a:lvl8pPr marL="0" indent="0">
              <a:spcAft>
                <a:spcPts val="0"/>
              </a:spcAft>
              <a:buNone/>
              <a:defRPr sz="1400">
                <a:solidFill>
                  <a:schemeClr val="tx2"/>
                </a:solidFill>
              </a:defRPr>
            </a:lvl8pPr>
            <a:lvl9pPr marL="0" indent="0">
              <a:spcAft>
                <a:spcPts val="0"/>
              </a:spcAft>
              <a:buNone/>
              <a:defRPr sz="1400">
                <a:solidFill>
                  <a:schemeClr val="tx2"/>
                </a:solidFill>
              </a:defRPr>
            </a:lvl9pPr>
          </a:lstStyle>
          <a:p>
            <a:pPr lvl="0"/>
            <a:r>
              <a:rPr lang="en-US" noProof="0" dirty="0"/>
              <a:t>Level 1</a:t>
            </a:r>
          </a:p>
          <a:p>
            <a:pPr lvl="1"/>
            <a:r>
              <a:rPr lang="en-US" noProof="0" dirty="0"/>
              <a:t>Level 2</a:t>
            </a:r>
          </a:p>
          <a:p>
            <a:pPr lvl="2"/>
            <a:r>
              <a:rPr lang="en-US" noProof="0" dirty="0"/>
              <a:t>Level 3</a:t>
            </a:r>
          </a:p>
          <a:p>
            <a:pPr lvl="2"/>
            <a:endParaRPr lang="en-US" noProof="0" dirty="0"/>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bwMode="gray">
          <a:xfrm>
            <a:off x="6204978" y="1484313"/>
            <a:ext cx="1872221" cy="2160587"/>
          </a:xfrm>
          <a:solidFill>
            <a:schemeClr val="bg2">
              <a:lumMod val="50000"/>
            </a:schemeClr>
          </a:solidFill>
        </p:spPr>
        <p:txBody>
          <a:bodyPr anchor="ctr"/>
          <a:lstStyle>
            <a:lvl1pPr algn="ctr">
              <a:defRPr sz="1400">
                <a:solidFill>
                  <a:schemeClr val="bg1"/>
                </a:solidFill>
              </a:defRPr>
            </a:lvl1pPr>
          </a:lstStyle>
          <a:p>
            <a:endParaRPr lang="en-US" noProof="0" dirty="0"/>
          </a:p>
        </p:txBody>
      </p:sp>
      <p:sp>
        <p:nvSpPr>
          <p:cNvPr id="3" name="Date Placeholder 2">
            <a:extLst>
              <a:ext uri="{FF2B5EF4-FFF2-40B4-BE49-F238E27FC236}">
                <a16:creationId xmlns:a16="http://schemas.microsoft.com/office/drawing/2014/main" id="{25D2422E-C4CD-4A3A-B69D-25D6B4463A3A}"/>
              </a:ext>
            </a:extLst>
          </p:cNvPr>
          <p:cNvSpPr>
            <a:spLocks noGrp="1"/>
          </p:cNvSpPr>
          <p:nvPr>
            <p:ph type="dt" sz="half" idx="16"/>
          </p:nvPr>
        </p:nvSpPr>
        <p:spPr bwMode="gray"/>
        <p:txBody>
          <a:bodyPr/>
          <a:lstStyle>
            <a:lvl1pPr rtl="0">
              <a:defRPr/>
            </a:lvl1pPr>
          </a:lstStyle>
          <a:p>
            <a:fld id="{977CDD0B-14FD-4EAC-A212-D2E624FF0E1A}" type="datetime1">
              <a:rPr lang="en-US"/>
              <a:t>1/16/2022</a:t>
            </a:fld>
            <a:endParaRPr lang="en-US" dirty="0"/>
          </a:p>
        </p:txBody>
      </p:sp>
      <p:sp>
        <p:nvSpPr>
          <p:cNvPr id="8" name="Slide Number Placeholder 7">
            <a:extLst>
              <a:ext uri="{FF2B5EF4-FFF2-40B4-BE49-F238E27FC236}">
                <a16:creationId xmlns:a16="http://schemas.microsoft.com/office/drawing/2014/main" id="{8A0EBEF7-6725-4947-A407-42CDE302FDD3}"/>
              </a:ext>
            </a:extLst>
          </p:cNvPr>
          <p:cNvSpPr>
            <a:spLocks noGrp="1"/>
          </p:cNvSpPr>
          <p:nvPr>
            <p:ph type="sldNum" sz="quarter" idx="17"/>
          </p:nvPr>
        </p:nvSpPr>
        <p:spPr bwMode="gray"/>
        <p:txBody>
          <a:bodyPr/>
          <a:lstStyle>
            <a:lvl1pPr rtl="0">
              <a:defRPr/>
            </a:lvl1pPr>
          </a:lstStyle>
          <a:p>
            <a:fld id="{62CB3E74-FC4B-418A-B5F6-72ED80208EB2}" type="slidenum">
              <a:rPr lang="en-US"/>
              <a:pPr/>
              <a:t>‹#›</a:t>
            </a:fld>
            <a:endParaRPr lang="en-US" dirty="0"/>
          </a:p>
        </p:txBody>
      </p:sp>
    </p:spTree>
    <p:extLst>
      <p:ext uri="{BB962C8B-B14F-4D97-AF65-F5344CB8AC3E}">
        <p14:creationId xmlns:p14="http://schemas.microsoft.com/office/powerpoint/2010/main" val="2706962980"/>
      </p:ext>
    </p:extLst>
  </p:cSld>
  <p:clrMapOvr>
    <a:masterClrMapping/>
  </p:clrMapOvr>
  <p:extLst>
    <p:ext uri="{DCECCB84-F9BA-43D5-87BE-67443E8EF086}">
      <p15:sldGuideLst xmlns:p15="http://schemas.microsoft.com/office/powerpoint/2012/main">
        <p15:guide id="1" pos="1549">
          <p15:clr>
            <a:srgbClr val="FBAE40"/>
          </p15:clr>
        </p15:guide>
        <p15:guide id="2" pos="1822">
          <p15:clr>
            <a:srgbClr val="FBAE40"/>
          </p15:clr>
        </p15:guide>
        <p15:guide id="3" pos="5360">
          <p15:clr>
            <a:srgbClr val="FBAE40"/>
          </p15:clr>
        </p15:guide>
        <p15:guide id="5" orient="horz" pos="229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Closing | Blue">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p:custDataLst>
              <p:tags r:id="rId2"/>
            </p:custDataLst>
            <p:extLst>
              <p:ext uri="{D42A27DB-BD31-4B8C-83A1-F6EECF244321}">
                <p14:modId xmlns:p14="http://schemas.microsoft.com/office/powerpoint/2010/main" val="1496353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81" name="think-cell Folie" r:id="rId5" imgW="286" imgH="286" progId="TCLayout.ActiveDocument.1">
                  <p:embed/>
                </p:oleObj>
              </mc:Choice>
              <mc:Fallback>
                <p:oleObj name="think-cell Foli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US" sz="3000" b="1" i="0" baseline="0"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vert="horz" anchor="t" anchorCtr="0"/>
          <a:lstStyle>
            <a:lvl1pPr algn="l" rtl="0">
              <a:lnSpc>
                <a:spcPct val="100000"/>
              </a:lnSpc>
              <a:spcBef>
                <a:spcPts val="0"/>
              </a:spcBef>
              <a:defRPr sz="4300" b="1">
                <a:solidFill>
                  <a:schemeClr val="bg1"/>
                </a:solidFill>
              </a:defRPr>
            </a:lvl1pPr>
          </a:lstStyle>
          <a:p>
            <a:r>
              <a:rPr lang="en-US" noProof="0" dirty="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rtl="0">
              <a:lnSpc>
                <a:spcPct val="110000"/>
              </a:lnSpc>
              <a:spcBef>
                <a:spcPts val="0"/>
              </a:spcBef>
              <a:spcAft>
                <a:spcPts val="0"/>
              </a:spcAft>
              <a:buFont typeface="Arial" panose="020B0604020202020204" pitchFamily="34" charset="0"/>
              <a:buNone/>
              <a:defRPr sz="1400">
                <a:solidFill>
                  <a:schemeClr val="bg1"/>
                </a:solidFill>
                <a:latin typeface="+mn-lt"/>
                <a:cs typeface="Abadi MT Condensed Extra Bold"/>
              </a:defRPr>
            </a:lvl1pPr>
            <a:lvl2pPr marL="0" indent="0" algn="l">
              <a:lnSpc>
                <a:spcPct val="110000"/>
              </a:lnSpc>
              <a:spcAft>
                <a:spcPts val="0"/>
              </a:spcAft>
              <a:buFont typeface="Arial" panose="020B0604020202020204" pitchFamily="34" charset="0"/>
              <a:buNone/>
              <a:defRPr sz="1400">
                <a:solidFill>
                  <a:schemeClr val="bg1"/>
                </a:solidFill>
              </a:defRPr>
            </a:lvl2pPr>
            <a:lvl3pPr marL="0" indent="0" algn="l">
              <a:lnSpc>
                <a:spcPct val="110000"/>
              </a:lnSpc>
              <a:spcAft>
                <a:spcPts val="0"/>
              </a:spcAft>
              <a:buFont typeface="Arial" panose="020B0604020202020204" pitchFamily="34" charset="0"/>
              <a:buNone/>
              <a:defRPr sz="1400">
                <a:solidFill>
                  <a:schemeClr val="bg1"/>
                </a:solidFill>
              </a:defRPr>
            </a:lvl3pPr>
            <a:lvl4pPr marL="0" indent="0" algn="l">
              <a:lnSpc>
                <a:spcPct val="110000"/>
              </a:lnSpc>
              <a:spcAft>
                <a:spcPts val="0"/>
              </a:spcAft>
              <a:buFont typeface="Arial" panose="020B0604020202020204" pitchFamily="34" charset="0"/>
              <a:buNone/>
              <a:defRPr sz="1400">
                <a:solidFill>
                  <a:schemeClr val="bg1"/>
                </a:solidFill>
              </a:defRPr>
            </a:lvl4pPr>
            <a:lvl5pPr marL="0" indent="0" algn="l">
              <a:lnSpc>
                <a:spcPct val="110000"/>
              </a:lnSpc>
              <a:spcAft>
                <a:spcPts val="0"/>
              </a:spcAft>
              <a:buFont typeface="Arial" panose="020B0604020202020204" pitchFamily="34" charset="0"/>
              <a:buNone/>
              <a:defRPr sz="1400">
                <a:solidFill>
                  <a:schemeClr val="bg1"/>
                </a:solidFill>
              </a:defRPr>
            </a:lvl5pPr>
            <a:lvl6pPr marL="0" indent="0" algn="l">
              <a:lnSpc>
                <a:spcPct val="110000"/>
              </a:lnSpc>
              <a:spcAft>
                <a:spcPts val="0"/>
              </a:spcAft>
              <a:buFont typeface="Arial" panose="020B0604020202020204" pitchFamily="34" charset="0"/>
              <a:buNone/>
              <a:defRPr sz="1400">
                <a:solidFill>
                  <a:schemeClr val="bg1"/>
                </a:solidFill>
              </a:defRPr>
            </a:lvl6pPr>
            <a:lvl7pPr marL="0" indent="0" algn="l">
              <a:lnSpc>
                <a:spcPct val="110000"/>
              </a:lnSpc>
              <a:spcAft>
                <a:spcPts val="0"/>
              </a:spcAft>
              <a:buFont typeface="Arial" panose="020B0604020202020204" pitchFamily="34" charset="0"/>
              <a:buNone/>
              <a:defRPr sz="1400">
                <a:solidFill>
                  <a:schemeClr val="bg1"/>
                </a:solidFill>
              </a:defRPr>
            </a:lvl7pPr>
            <a:lvl8pPr marL="0" indent="0" algn="l">
              <a:lnSpc>
                <a:spcPct val="110000"/>
              </a:lnSpc>
              <a:spcAft>
                <a:spcPts val="0"/>
              </a:spcAft>
              <a:buFont typeface="Arial" panose="020B0604020202020204" pitchFamily="34" charset="0"/>
              <a:buNone/>
              <a:defRPr sz="1400">
                <a:solidFill>
                  <a:schemeClr val="bg1"/>
                </a:solidFill>
              </a:defRPr>
            </a:lvl8pPr>
            <a:lvl9pPr marL="0" indent="0" algn="l">
              <a:lnSpc>
                <a:spcPct val="110000"/>
              </a:lnSpc>
              <a:spcAft>
                <a:spcPts val="0"/>
              </a:spcAft>
              <a:buFont typeface="Arial" panose="020B0604020202020204" pitchFamily="34" charset="0"/>
              <a:buNone/>
              <a:defRPr sz="1400">
                <a:solidFill>
                  <a:schemeClr val="bg1"/>
                </a:solidFill>
              </a:defRPr>
            </a:lvl9pPr>
          </a:lstStyle>
          <a:p>
            <a:r>
              <a:rPr lang="en-US" noProof="0" dirty="0"/>
              <a:t>Insert Contact Data</a:t>
            </a:r>
          </a:p>
          <a:p>
            <a:endParaRPr lang="en-US" noProof="0" dirty="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bwMode="gray">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p:nvGrpSpPr>
        <p:grpSpPr bwMode="gray">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bwMode="gray">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pPr rtl="0"/>
              <a:endParaRPr lang="en-US" noProof="0" dirty="0"/>
            </a:p>
          </p:txBody>
        </p:sp>
        <p:sp>
          <p:nvSpPr>
            <p:cNvPr id="26" name="Freihandform: Form 25">
              <a:extLst>
                <a:ext uri="{FF2B5EF4-FFF2-40B4-BE49-F238E27FC236}">
                  <a16:creationId xmlns:a16="http://schemas.microsoft.com/office/drawing/2014/main" id="{9114E78E-1106-48E6-A1F0-2DFA201B8635}"/>
                </a:ext>
              </a:extLst>
            </p:cNvPr>
            <p:cNvSpPr/>
            <p:nvPr/>
          </p:nvSpPr>
          <p:spPr bwMode="gray">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pPr rtl="0"/>
              <a:endParaRPr lang="en-US" noProof="0" dirty="0"/>
            </a:p>
          </p:txBody>
        </p:sp>
        <p:sp>
          <p:nvSpPr>
            <p:cNvPr id="27" name="Freihandform: Form 26">
              <a:extLst>
                <a:ext uri="{FF2B5EF4-FFF2-40B4-BE49-F238E27FC236}">
                  <a16:creationId xmlns:a16="http://schemas.microsoft.com/office/drawing/2014/main" id="{0C316EA6-55AF-40C5-AC64-E996B2E4C425}"/>
                </a:ext>
              </a:extLst>
            </p:cNvPr>
            <p:cNvSpPr/>
            <p:nvPr/>
          </p:nvSpPr>
          <p:spPr bwMode="gray">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pPr rtl="0"/>
              <a:endParaRPr lang="en-US" noProof="0" dirty="0"/>
            </a:p>
          </p:txBody>
        </p:sp>
        <p:sp>
          <p:nvSpPr>
            <p:cNvPr id="28" name="Freihandform: Form 27">
              <a:extLst>
                <a:ext uri="{FF2B5EF4-FFF2-40B4-BE49-F238E27FC236}">
                  <a16:creationId xmlns:a16="http://schemas.microsoft.com/office/drawing/2014/main" id="{1A4E63AB-059C-4C37-96CB-B9EB5192C533}"/>
                </a:ext>
              </a:extLst>
            </p:cNvPr>
            <p:cNvSpPr/>
            <p:nvPr/>
          </p:nvSpPr>
          <p:spPr bwMode="gray">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pPr rtl="0"/>
              <a:endParaRPr lang="en-US" noProof="0" dirty="0"/>
            </a:p>
          </p:txBody>
        </p:sp>
        <p:sp>
          <p:nvSpPr>
            <p:cNvPr id="29" name="Freihandform: Form 28">
              <a:extLst>
                <a:ext uri="{FF2B5EF4-FFF2-40B4-BE49-F238E27FC236}">
                  <a16:creationId xmlns:a16="http://schemas.microsoft.com/office/drawing/2014/main" id="{DF69AC47-7EBD-4D7A-9F50-9933AE315AED}"/>
                </a:ext>
              </a:extLst>
            </p:cNvPr>
            <p:cNvSpPr/>
            <p:nvPr/>
          </p:nvSpPr>
          <p:spPr bwMode="gray">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pPr rtl="0"/>
              <a:endParaRPr lang="en-US" noProof="0" dirty="0"/>
            </a:p>
          </p:txBody>
        </p:sp>
      </p:grpSp>
      <p:sp>
        <p:nvSpPr>
          <p:cNvPr id="15" name="Rechteck 14">
            <a:extLst>
              <a:ext uri="{FF2B5EF4-FFF2-40B4-BE49-F238E27FC236}">
                <a16:creationId xmlns:a16="http://schemas.microsoft.com/office/drawing/2014/main" id="{4EB0CB7E-9718-4DF4-BB58-8D22CBEA24FC}"/>
              </a:ext>
            </a:extLst>
          </p:cNvPr>
          <p:cNvSpPr/>
          <p:nvPr/>
        </p:nvSpPr>
        <p:spPr bwMode="gray">
          <a:xfrm>
            <a:off x="1566654" y="6286127"/>
            <a:ext cx="1019831" cy="295337"/>
          </a:xfrm>
          <a:prstGeom prst="rect">
            <a:avLst/>
          </a:prstGeom>
        </p:spPr>
        <p:txBody>
          <a:bodyPr wrap="none">
            <a:spAutoFit/>
          </a:bodyPr>
          <a:lstStyle/>
          <a:p>
            <a:pPr rtl="0">
              <a:lnSpc>
                <a:spcPct val="110000"/>
              </a:lnSpc>
            </a:pPr>
            <a:r>
              <a:rPr lang="en-US" sz="1300" b="1" noProof="0" dirty="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p:nvGrpSpPr>
        <p:grpSpPr bwMode="gray">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gray">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bwMode="gray">
            <a:xfrm>
              <a:off x="3483366" y="5826891"/>
              <a:ext cx="389641" cy="389641"/>
            </a:xfrm>
            <a:prstGeom prst="rect">
              <a:avLst/>
            </a:prstGeom>
          </p:spPr>
        </p:pic>
      </p:grpSp>
      <p:grpSp>
        <p:nvGrpSpPr>
          <p:cNvPr id="20" name="Gruppieren 19">
            <a:extLst>
              <a:ext uri="{FF2B5EF4-FFF2-40B4-BE49-F238E27FC236}">
                <a16:creationId xmlns:a16="http://schemas.microsoft.com/office/drawing/2014/main" id="{6D805CEE-D93F-4052-A5C6-58033A837D1B}"/>
              </a:ext>
            </a:extLst>
          </p:cNvPr>
          <p:cNvGrpSpPr/>
          <p:nvPr/>
        </p:nvGrpSpPr>
        <p:grpSpPr bwMode="gray">
          <a:xfrm>
            <a:off x="10804526" y="1"/>
            <a:ext cx="809625" cy="1135063"/>
            <a:chOff x="10804526" y="1"/>
            <a:chExt cx="809625" cy="1135063"/>
          </a:xfrm>
        </p:grpSpPr>
        <p:sp>
          <p:nvSpPr>
            <p:cNvPr id="21" name="Freihandform: Form 20">
              <a:extLst>
                <a:ext uri="{FF2B5EF4-FFF2-40B4-BE49-F238E27FC236}">
                  <a16:creationId xmlns:a16="http://schemas.microsoft.com/office/drawing/2014/main" id="{54692D9A-4B87-4AF5-B223-E4A01797DFB8}"/>
                </a:ext>
              </a:extLst>
            </p:cNvPr>
            <p:cNvSpPr/>
            <p:nvPr userDrawn="1"/>
          </p:nvSpPr>
          <p:spPr bwMode="gray">
            <a:xfrm>
              <a:off x="10804526" y="1"/>
              <a:ext cx="809625" cy="1135063"/>
            </a:xfrm>
            <a:custGeom>
              <a:avLst/>
              <a:gdLst>
                <a:gd name="connsiteX0" fmla="*/ 0 w 809625"/>
                <a:gd name="connsiteY0" fmla="*/ 0 h 1135063"/>
                <a:gd name="connsiteX1" fmla="*/ 809625 w 809625"/>
                <a:gd name="connsiteY1" fmla="*/ 0 h 1135063"/>
                <a:gd name="connsiteX2" fmla="*/ 809625 w 809625"/>
                <a:gd name="connsiteY2" fmla="*/ 730422 h 1135063"/>
                <a:gd name="connsiteX3" fmla="*/ 404813 w 809625"/>
                <a:gd name="connsiteY3" fmla="*/ 1135063 h 1135063"/>
                <a:gd name="connsiteX4" fmla="*/ 0 w 809625"/>
                <a:gd name="connsiteY4" fmla="*/ 730422 h 1135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1135063">
                  <a:moveTo>
                    <a:pt x="0" y="0"/>
                  </a:moveTo>
                  <a:lnTo>
                    <a:pt x="809625" y="0"/>
                  </a:lnTo>
                  <a:lnTo>
                    <a:pt x="809625" y="730422"/>
                  </a:lnTo>
                  <a:cubicBezTo>
                    <a:pt x="809625" y="953908"/>
                    <a:pt x="628489" y="1135063"/>
                    <a:pt x="404813" y="1135063"/>
                  </a:cubicBezTo>
                  <a:cubicBezTo>
                    <a:pt x="181308" y="1135063"/>
                    <a:pt x="0" y="953908"/>
                    <a:pt x="0" y="730422"/>
                  </a:cubicBezTo>
                  <a:close/>
                </a:path>
              </a:pathLst>
            </a:custGeom>
            <a:solidFill>
              <a:srgbClr val="00CE7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bIns="79200" rtlCol="0" anchor="ctr">
              <a:noAutofit/>
            </a:bodyPr>
            <a:lstStyle/>
            <a:p>
              <a:pPr algn="ctr" rtl="0"/>
              <a:endParaRPr lang="en-US" sz="1400" dirty="0"/>
            </a:p>
          </p:txBody>
        </p:sp>
        <p:sp>
          <p:nvSpPr>
            <p:cNvPr id="22" name="Freeform 17">
              <a:extLst>
                <a:ext uri="{FF2B5EF4-FFF2-40B4-BE49-F238E27FC236}">
                  <a16:creationId xmlns:a16="http://schemas.microsoft.com/office/drawing/2014/main" id="{BF592B5D-CC4C-4224-9FE3-C7A37231CBF4}"/>
                </a:ext>
              </a:extLst>
            </p:cNvPr>
            <p:cNvSpPr>
              <a:spLocks noEditPoints="1"/>
            </p:cNvSpPr>
            <p:nvPr userDrawn="1"/>
          </p:nvSpPr>
          <p:spPr bwMode="gray">
            <a:xfrm>
              <a:off x="10929938" y="487363"/>
              <a:ext cx="595313" cy="320675"/>
            </a:xfrm>
            <a:custGeom>
              <a:avLst/>
              <a:gdLst>
                <a:gd name="T0" fmla="*/ 3270 w 3471"/>
                <a:gd name="T1" fmla="*/ 1872 h 1872"/>
                <a:gd name="T2" fmla="*/ 3137 w 3471"/>
                <a:gd name="T3" fmla="*/ 1817 h 1872"/>
                <a:gd name="T4" fmla="*/ 2679 w 3471"/>
                <a:gd name="T5" fmla="*/ 1358 h 1872"/>
                <a:gd name="T6" fmla="*/ 2677 w 3471"/>
                <a:gd name="T7" fmla="*/ 1096 h 1872"/>
                <a:gd name="T8" fmla="*/ 2806 w 3471"/>
                <a:gd name="T9" fmla="*/ 1042 h 1872"/>
                <a:gd name="T10" fmla="*/ 2939 w 3471"/>
                <a:gd name="T11" fmla="*/ 1098 h 1872"/>
                <a:gd name="T12" fmla="*/ 3397 w 3471"/>
                <a:gd name="T13" fmla="*/ 1557 h 1872"/>
                <a:gd name="T14" fmla="*/ 3452 w 3471"/>
                <a:gd name="T15" fmla="*/ 1688 h 1872"/>
                <a:gd name="T16" fmla="*/ 3399 w 3471"/>
                <a:gd name="T17" fmla="*/ 1819 h 1872"/>
                <a:gd name="T18" fmla="*/ 3270 w 3471"/>
                <a:gd name="T19" fmla="*/ 1872 h 1872"/>
                <a:gd name="T20" fmla="*/ 3270 w 3471"/>
                <a:gd name="T21" fmla="*/ 1872 h 1872"/>
                <a:gd name="T22" fmla="*/ 1787 w 3471"/>
                <a:gd name="T23" fmla="*/ 1872 h 1872"/>
                <a:gd name="T24" fmla="*/ 1658 w 3471"/>
                <a:gd name="T25" fmla="*/ 1819 h 1872"/>
                <a:gd name="T26" fmla="*/ 1605 w 3471"/>
                <a:gd name="T27" fmla="*/ 1688 h 1872"/>
                <a:gd name="T28" fmla="*/ 1660 w 3471"/>
                <a:gd name="T29" fmla="*/ 1557 h 1872"/>
                <a:gd name="T30" fmla="*/ 2119 w 3471"/>
                <a:gd name="T31" fmla="*/ 1098 h 1872"/>
                <a:gd name="T32" fmla="*/ 2252 w 3471"/>
                <a:gd name="T33" fmla="*/ 1042 h 1872"/>
                <a:gd name="T34" fmla="*/ 2381 w 3471"/>
                <a:gd name="T35" fmla="*/ 1096 h 1872"/>
                <a:gd name="T36" fmla="*/ 2379 w 3471"/>
                <a:gd name="T37" fmla="*/ 1358 h 1872"/>
                <a:gd name="T38" fmla="*/ 1920 w 3471"/>
                <a:gd name="T39" fmla="*/ 1817 h 1872"/>
                <a:gd name="T40" fmla="*/ 1787 w 3471"/>
                <a:gd name="T41" fmla="*/ 1872 h 1872"/>
                <a:gd name="T42" fmla="*/ 1787 w 3471"/>
                <a:gd name="T43" fmla="*/ 1872 h 1872"/>
                <a:gd name="T44" fmla="*/ 196 w 3471"/>
                <a:gd name="T45" fmla="*/ 1857 h 1872"/>
                <a:gd name="T46" fmla="*/ 0 w 3471"/>
                <a:gd name="T47" fmla="*/ 1662 h 1872"/>
                <a:gd name="T48" fmla="*/ 0 w 3471"/>
                <a:gd name="T49" fmla="*/ 211 h 1872"/>
                <a:gd name="T50" fmla="*/ 196 w 3471"/>
                <a:gd name="T51" fmla="*/ 16 h 1872"/>
                <a:gd name="T52" fmla="*/ 1219 w 3471"/>
                <a:gd name="T53" fmla="*/ 16 h 1872"/>
                <a:gd name="T54" fmla="*/ 1390 w 3471"/>
                <a:gd name="T55" fmla="*/ 185 h 1872"/>
                <a:gd name="T56" fmla="*/ 1219 w 3471"/>
                <a:gd name="T57" fmla="*/ 354 h 1872"/>
                <a:gd name="T58" fmla="*/ 372 w 3471"/>
                <a:gd name="T59" fmla="*/ 354 h 1872"/>
                <a:gd name="T60" fmla="*/ 372 w 3471"/>
                <a:gd name="T61" fmla="*/ 1518 h 1872"/>
                <a:gd name="T62" fmla="*/ 1232 w 3471"/>
                <a:gd name="T63" fmla="*/ 1518 h 1872"/>
                <a:gd name="T64" fmla="*/ 1404 w 3471"/>
                <a:gd name="T65" fmla="*/ 1688 h 1872"/>
                <a:gd name="T66" fmla="*/ 1232 w 3471"/>
                <a:gd name="T67" fmla="*/ 1857 h 1872"/>
                <a:gd name="T68" fmla="*/ 196 w 3471"/>
                <a:gd name="T69" fmla="*/ 1857 h 1872"/>
                <a:gd name="T70" fmla="*/ 590 w 3471"/>
                <a:gd name="T71" fmla="*/ 1099 h 1872"/>
                <a:gd name="T72" fmla="*/ 590 w 3471"/>
                <a:gd name="T73" fmla="*/ 761 h 1872"/>
                <a:gd name="T74" fmla="*/ 1628 w 3471"/>
                <a:gd name="T75" fmla="*/ 761 h 1872"/>
                <a:gd name="T76" fmla="*/ 1800 w 3471"/>
                <a:gd name="T77" fmla="*/ 930 h 1872"/>
                <a:gd name="T78" fmla="*/ 1628 w 3471"/>
                <a:gd name="T79" fmla="*/ 1099 h 1872"/>
                <a:gd name="T80" fmla="*/ 590 w 3471"/>
                <a:gd name="T81" fmla="*/ 1099 h 1872"/>
                <a:gd name="T82" fmla="*/ 2806 w 3471"/>
                <a:gd name="T83" fmla="*/ 831 h 1872"/>
                <a:gd name="T84" fmla="*/ 2677 w 3471"/>
                <a:gd name="T85" fmla="*/ 777 h 1872"/>
                <a:gd name="T86" fmla="*/ 2679 w 3471"/>
                <a:gd name="T87" fmla="*/ 515 h 1872"/>
                <a:gd name="T88" fmla="*/ 3137 w 3471"/>
                <a:gd name="T89" fmla="*/ 56 h 1872"/>
                <a:gd name="T90" fmla="*/ 3270 w 3471"/>
                <a:gd name="T91" fmla="*/ 0 h 1872"/>
                <a:gd name="T92" fmla="*/ 3399 w 3471"/>
                <a:gd name="T93" fmla="*/ 54 h 1872"/>
                <a:gd name="T94" fmla="*/ 3397 w 3471"/>
                <a:gd name="T95" fmla="*/ 316 h 1872"/>
                <a:gd name="T96" fmla="*/ 2939 w 3471"/>
                <a:gd name="T97" fmla="*/ 775 h 1872"/>
                <a:gd name="T98" fmla="*/ 2806 w 3471"/>
                <a:gd name="T99" fmla="*/ 831 h 1872"/>
                <a:gd name="T100" fmla="*/ 2252 w 3471"/>
                <a:gd name="T101" fmla="*/ 831 h 1872"/>
                <a:gd name="T102" fmla="*/ 2119 w 3471"/>
                <a:gd name="T103" fmla="*/ 775 h 1872"/>
                <a:gd name="T104" fmla="*/ 1660 w 3471"/>
                <a:gd name="T105" fmla="*/ 316 h 1872"/>
                <a:gd name="T106" fmla="*/ 1658 w 3471"/>
                <a:gd name="T107" fmla="*/ 54 h 1872"/>
                <a:gd name="T108" fmla="*/ 1787 w 3471"/>
                <a:gd name="T109" fmla="*/ 0 h 1872"/>
                <a:gd name="T110" fmla="*/ 1920 w 3471"/>
                <a:gd name="T111" fmla="*/ 56 h 1872"/>
                <a:gd name="T112" fmla="*/ 2379 w 3471"/>
                <a:gd name="T113" fmla="*/ 515 h 1872"/>
                <a:gd name="T114" fmla="*/ 2381 w 3471"/>
                <a:gd name="T115" fmla="*/ 777 h 1872"/>
                <a:gd name="T116" fmla="*/ 2252 w 3471"/>
                <a:gd name="T117" fmla="*/ 831 h 1872"/>
                <a:gd name="T118" fmla="*/ 2252 w 3471"/>
                <a:gd name="T119" fmla="*/ 831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71" h="1872">
                  <a:moveTo>
                    <a:pt x="3270" y="1872"/>
                  </a:moveTo>
                  <a:cubicBezTo>
                    <a:pt x="3220" y="1872"/>
                    <a:pt x="3173" y="1853"/>
                    <a:pt x="3137" y="1817"/>
                  </a:cubicBezTo>
                  <a:lnTo>
                    <a:pt x="2679" y="1358"/>
                  </a:lnTo>
                  <a:cubicBezTo>
                    <a:pt x="2606" y="1285"/>
                    <a:pt x="2605" y="1167"/>
                    <a:pt x="2677" y="1096"/>
                  </a:cubicBezTo>
                  <a:cubicBezTo>
                    <a:pt x="2711" y="1061"/>
                    <a:pt x="2757" y="1042"/>
                    <a:pt x="2806" y="1042"/>
                  </a:cubicBezTo>
                  <a:cubicBezTo>
                    <a:pt x="2856" y="1042"/>
                    <a:pt x="2903" y="1062"/>
                    <a:pt x="2939" y="1098"/>
                  </a:cubicBezTo>
                  <a:lnTo>
                    <a:pt x="3397" y="1557"/>
                  </a:lnTo>
                  <a:cubicBezTo>
                    <a:pt x="3432" y="1592"/>
                    <a:pt x="3452" y="1639"/>
                    <a:pt x="3452" y="1688"/>
                  </a:cubicBezTo>
                  <a:cubicBezTo>
                    <a:pt x="3453" y="1738"/>
                    <a:pt x="3434" y="1784"/>
                    <a:pt x="3399" y="1819"/>
                  </a:cubicBezTo>
                  <a:cubicBezTo>
                    <a:pt x="3365" y="1854"/>
                    <a:pt x="3319" y="1872"/>
                    <a:pt x="3270" y="1872"/>
                  </a:cubicBezTo>
                  <a:lnTo>
                    <a:pt x="3270" y="1872"/>
                  </a:lnTo>
                  <a:close/>
                  <a:moveTo>
                    <a:pt x="1787" y="1872"/>
                  </a:moveTo>
                  <a:cubicBezTo>
                    <a:pt x="1739" y="1872"/>
                    <a:pt x="1693" y="1854"/>
                    <a:pt x="1658" y="1819"/>
                  </a:cubicBezTo>
                  <a:cubicBezTo>
                    <a:pt x="1624" y="1784"/>
                    <a:pt x="1605" y="1738"/>
                    <a:pt x="1605" y="1688"/>
                  </a:cubicBezTo>
                  <a:cubicBezTo>
                    <a:pt x="1605" y="1639"/>
                    <a:pt x="1625" y="1592"/>
                    <a:pt x="1660" y="1557"/>
                  </a:cubicBezTo>
                  <a:lnTo>
                    <a:pt x="2119" y="1098"/>
                  </a:lnTo>
                  <a:cubicBezTo>
                    <a:pt x="2154" y="1062"/>
                    <a:pt x="2202" y="1042"/>
                    <a:pt x="2252" y="1042"/>
                  </a:cubicBezTo>
                  <a:cubicBezTo>
                    <a:pt x="2300" y="1042"/>
                    <a:pt x="2346" y="1061"/>
                    <a:pt x="2381" y="1096"/>
                  </a:cubicBezTo>
                  <a:cubicBezTo>
                    <a:pt x="2452" y="1167"/>
                    <a:pt x="2451" y="1285"/>
                    <a:pt x="2379" y="1358"/>
                  </a:cubicBezTo>
                  <a:lnTo>
                    <a:pt x="1920" y="1817"/>
                  </a:lnTo>
                  <a:cubicBezTo>
                    <a:pt x="1885" y="1853"/>
                    <a:pt x="1837" y="1872"/>
                    <a:pt x="1787" y="1872"/>
                  </a:cubicBezTo>
                  <a:cubicBezTo>
                    <a:pt x="1787" y="1872"/>
                    <a:pt x="1787" y="1872"/>
                    <a:pt x="1787" y="1872"/>
                  </a:cubicBezTo>
                  <a:close/>
                  <a:moveTo>
                    <a:pt x="196" y="1857"/>
                  </a:moveTo>
                  <a:cubicBezTo>
                    <a:pt x="87" y="1857"/>
                    <a:pt x="0" y="1771"/>
                    <a:pt x="0" y="1662"/>
                  </a:cubicBezTo>
                  <a:lnTo>
                    <a:pt x="0" y="211"/>
                  </a:lnTo>
                  <a:cubicBezTo>
                    <a:pt x="0" y="102"/>
                    <a:pt x="87" y="16"/>
                    <a:pt x="196" y="16"/>
                  </a:cubicBezTo>
                  <a:lnTo>
                    <a:pt x="1219" y="16"/>
                  </a:lnTo>
                  <a:cubicBezTo>
                    <a:pt x="1313" y="16"/>
                    <a:pt x="1390" y="92"/>
                    <a:pt x="1390" y="185"/>
                  </a:cubicBezTo>
                  <a:cubicBezTo>
                    <a:pt x="1390" y="278"/>
                    <a:pt x="1313" y="354"/>
                    <a:pt x="1219" y="354"/>
                  </a:cubicBezTo>
                  <a:lnTo>
                    <a:pt x="372" y="354"/>
                  </a:lnTo>
                  <a:lnTo>
                    <a:pt x="372" y="1518"/>
                  </a:lnTo>
                  <a:lnTo>
                    <a:pt x="1232" y="1518"/>
                  </a:lnTo>
                  <a:cubicBezTo>
                    <a:pt x="1327" y="1518"/>
                    <a:pt x="1404" y="1594"/>
                    <a:pt x="1404" y="1688"/>
                  </a:cubicBezTo>
                  <a:cubicBezTo>
                    <a:pt x="1404" y="1781"/>
                    <a:pt x="1327" y="1857"/>
                    <a:pt x="1232" y="1857"/>
                  </a:cubicBezTo>
                  <a:lnTo>
                    <a:pt x="196" y="1857"/>
                  </a:lnTo>
                  <a:close/>
                  <a:moveTo>
                    <a:pt x="590" y="1099"/>
                  </a:moveTo>
                  <a:lnTo>
                    <a:pt x="590" y="761"/>
                  </a:lnTo>
                  <a:lnTo>
                    <a:pt x="1628" y="761"/>
                  </a:lnTo>
                  <a:cubicBezTo>
                    <a:pt x="1723" y="761"/>
                    <a:pt x="1800" y="837"/>
                    <a:pt x="1800" y="930"/>
                  </a:cubicBezTo>
                  <a:cubicBezTo>
                    <a:pt x="1800" y="1023"/>
                    <a:pt x="1723" y="1099"/>
                    <a:pt x="1628" y="1099"/>
                  </a:cubicBezTo>
                  <a:lnTo>
                    <a:pt x="590" y="1099"/>
                  </a:lnTo>
                  <a:close/>
                  <a:moveTo>
                    <a:pt x="2806" y="831"/>
                  </a:moveTo>
                  <a:cubicBezTo>
                    <a:pt x="2757" y="831"/>
                    <a:pt x="2711" y="812"/>
                    <a:pt x="2677" y="777"/>
                  </a:cubicBezTo>
                  <a:cubicBezTo>
                    <a:pt x="2605" y="706"/>
                    <a:pt x="2606" y="588"/>
                    <a:pt x="2679" y="515"/>
                  </a:cubicBezTo>
                  <a:lnTo>
                    <a:pt x="3137" y="56"/>
                  </a:lnTo>
                  <a:cubicBezTo>
                    <a:pt x="3173" y="20"/>
                    <a:pt x="3220" y="0"/>
                    <a:pt x="3270" y="0"/>
                  </a:cubicBezTo>
                  <a:cubicBezTo>
                    <a:pt x="3319" y="0"/>
                    <a:pt x="3365" y="19"/>
                    <a:pt x="3399" y="54"/>
                  </a:cubicBezTo>
                  <a:cubicBezTo>
                    <a:pt x="3471" y="126"/>
                    <a:pt x="3470" y="243"/>
                    <a:pt x="3397" y="316"/>
                  </a:cubicBezTo>
                  <a:lnTo>
                    <a:pt x="2939" y="775"/>
                  </a:lnTo>
                  <a:cubicBezTo>
                    <a:pt x="2903" y="811"/>
                    <a:pt x="2856" y="831"/>
                    <a:pt x="2806" y="831"/>
                  </a:cubicBezTo>
                  <a:close/>
                  <a:moveTo>
                    <a:pt x="2252" y="831"/>
                  </a:moveTo>
                  <a:cubicBezTo>
                    <a:pt x="2202" y="831"/>
                    <a:pt x="2154" y="811"/>
                    <a:pt x="2119" y="775"/>
                  </a:cubicBezTo>
                  <a:lnTo>
                    <a:pt x="1660" y="316"/>
                  </a:lnTo>
                  <a:cubicBezTo>
                    <a:pt x="1588" y="243"/>
                    <a:pt x="1587" y="126"/>
                    <a:pt x="1658" y="54"/>
                  </a:cubicBezTo>
                  <a:cubicBezTo>
                    <a:pt x="1693" y="19"/>
                    <a:pt x="1739" y="0"/>
                    <a:pt x="1787" y="0"/>
                  </a:cubicBezTo>
                  <a:cubicBezTo>
                    <a:pt x="1837" y="0"/>
                    <a:pt x="1885" y="20"/>
                    <a:pt x="1920" y="56"/>
                  </a:cubicBezTo>
                  <a:lnTo>
                    <a:pt x="2379" y="515"/>
                  </a:lnTo>
                  <a:cubicBezTo>
                    <a:pt x="2451" y="588"/>
                    <a:pt x="2452" y="706"/>
                    <a:pt x="2381" y="777"/>
                  </a:cubicBezTo>
                  <a:cubicBezTo>
                    <a:pt x="2346" y="812"/>
                    <a:pt x="2300" y="831"/>
                    <a:pt x="2252" y="831"/>
                  </a:cubicBezTo>
                  <a:lnTo>
                    <a:pt x="2252" y="831"/>
                  </a:lnTo>
                  <a:close/>
                </a:path>
              </a:pathLst>
            </a:custGeom>
            <a:solidFill>
              <a:srgbClr val="20175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US" dirty="0"/>
            </a:p>
          </p:txBody>
        </p:sp>
      </p:grpSp>
    </p:spTree>
    <p:extLst>
      <p:ext uri="{BB962C8B-B14F-4D97-AF65-F5344CB8AC3E}">
        <p14:creationId xmlns:p14="http://schemas.microsoft.com/office/powerpoint/2010/main" val="368808169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Closing">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p:custDataLst>
              <p:tags r:id="rId2"/>
            </p:custDataLst>
            <p:extLst>
              <p:ext uri="{D42A27DB-BD31-4B8C-83A1-F6EECF244321}">
                <p14:modId xmlns:p14="http://schemas.microsoft.com/office/powerpoint/2010/main" val="4042996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5" name="think-cell Folie" r:id="rId5" imgW="286" imgH="286" progId="TCLayout.ActiveDocument.1">
                  <p:embed/>
                </p:oleObj>
              </mc:Choice>
              <mc:Fallback>
                <p:oleObj name="think-cell Foli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US" sz="3000" b="1" i="0" baseline="0"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vert="horz" anchor="t" anchorCtr="0"/>
          <a:lstStyle>
            <a:lvl1pPr algn="l" rtl="0">
              <a:lnSpc>
                <a:spcPct val="100000"/>
              </a:lnSpc>
              <a:spcBef>
                <a:spcPts val="0"/>
              </a:spcBef>
              <a:defRPr sz="4300" b="1">
                <a:solidFill>
                  <a:schemeClr val="tx1"/>
                </a:solidFill>
              </a:defRPr>
            </a:lvl1pPr>
          </a:lstStyle>
          <a:p>
            <a:r>
              <a:rPr lang="en-US" noProof="0" dirty="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rtl="0">
              <a:lnSpc>
                <a:spcPct val="110000"/>
              </a:lnSpc>
              <a:spcBef>
                <a:spcPts val="0"/>
              </a:spcBef>
              <a:spcAft>
                <a:spcPts val="0"/>
              </a:spcAft>
              <a:buNone/>
              <a:defRPr sz="1400">
                <a:solidFill>
                  <a:schemeClr val="tx1"/>
                </a:solidFill>
                <a:latin typeface="+mn-lt"/>
                <a:cs typeface="Abadi MT Condensed Extra Bold"/>
              </a:defRPr>
            </a:lvl1pPr>
            <a:lvl2pPr marL="0" indent="0" algn="l">
              <a:lnSpc>
                <a:spcPct val="110000"/>
              </a:lnSpc>
              <a:spcAft>
                <a:spcPts val="0"/>
              </a:spcAft>
              <a:buNone/>
              <a:defRPr sz="1400"/>
            </a:lvl2pPr>
            <a:lvl3pPr marL="0" indent="0" algn="l">
              <a:lnSpc>
                <a:spcPct val="110000"/>
              </a:lnSpc>
              <a:spcAft>
                <a:spcPts val="0"/>
              </a:spcAft>
              <a:buNone/>
              <a:defRPr sz="1400"/>
            </a:lvl3pPr>
            <a:lvl4pPr marL="0" indent="0" algn="l">
              <a:lnSpc>
                <a:spcPct val="110000"/>
              </a:lnSpc>
              <a:spcAft>
                <a:spcPts val="0"/>
              </a:spcAft>
              <a:buNone/>
              <a:defRPr sz="1400"/>
            </a:lvl4pPr>
            <a:lvl5pPr marL="0" indent="0" algn="l">
              <a:lnSpc>
                <a:spcPct val="110000"/>
              </a:lnSpc>
              <a:spcAft>
                <a:spcPts val="0"/>
              </a:spcAft>
              <a:buNone/>
              <a:defRPr sz="1400"/>
            </a:lvl5pPr>
            <a:lvl6pPr marL="0" indent="0" algn="l">
              <a:lnSpc>
                <a:spcPct val="110000"/>
              </a:lnSpc>
              <a:spcAft>
                <a:spcPts val="0"/>
              </a:spcAft>
              <a:buNone/>
              <a:defRPr sz="1400"/>
            </a:lvl6pPr>
            <a:lvl7pPr marL="0" indent="0" algn="l">
              <a:lnSpc>
                <a:spcPct val="110000"/>
              </a:lnSpc>
              <a:spcAft>
                <a:spcPts val="0"/>
              </a:spcAft>
              <a:buNone/>
              <a:defRPr sz="1400"/>
            </a:lvl7pPr>
            <a:lvl8pPr marL="0" indent="0" algn="l">
              <a:lnSpc>
                <a:spcPct val="110000"/>
              </a:lnSpc>
              <a:spcAft>
                <a:spcPts val="0"/>
              </a:spcAft>
              <a:buNone/>
              <a:defRPr sz="1400"/>
            </a:lvl8pPr>
            <a:lvl9pPr marL="0" indent="0" algn="l">
              <a:lnSpc>
                <a:spcPct val="110000"/>
              </a:lnSpc>
              <a:spcAft>
                <a:spcPts val="0"/>
              </a:spcAft>
              <a:buNone/>
              <a:defRPr sz="1400"/>
            </a:lvl9pPr>
          </a:lstStyle>
          <a:p>
            <a:r>
              <a:rPr lang="en-US" noProof="0" dirty="0"/>
              <a:t>Insert Contact Data</a:t>
            </a:r>
          </a:p>
          <a:p>
            <a:endParaRPr lang="en-US" noProof="0" dirty="0"/>
          </a:p>
        </p:txBody>
      </p:sp>
      <p:sp>
        <p:nvSpPr>
          <p:cNvPr id="15" name="Rechteck 14">
            <a:extLst>
              <a:ext uri="{FF2B5EF4-FFF2-40B4-BE49-F238E27FC236}">
                <a16:creationId xmlns:a16="http://schemas.microsoft.com/office/drawing/2014/main" id="{4EB0CB7E-9718-4DF4-BB58-8D22CBEA24FC}"/>
              </a:ext>
            </a:extLst>
          </p:cNvPr>
          <p:cNvSpPr/>
          <p:nvPr/>
        </p:nvSpPr>
        <p:spPr bwMode="gray">
          <a:xfrm>
            <a:off x="1566654" y="6286127"/>
            <a:ext cx="1019831" cy="295337"/>
          </a:xfrm>
          <a:prstGeom prst="rect">
            <a:avLst/>
          </a:prstGeom>
        </p:spPr>
        <p:txBody>
          <a:bodyPr wrap="none">
            <a:spAutoFit/>
          </a:bodyPr>
          <a:lstStyle/>
          <a:p>
            <a:pPr rtl="0">
              <a:lnSpc>
                <a:spcPct val="110000"/>
              </a:lnSpc>
            </a:pPr>
            <a:r>
              <a:rPr lang="en-US" sz="1300" b="1" noProof="0" dirty="0">
                <a:solidFill>
                  <a:schemeClr val="tx1"/>
                </a:solidFill>
                <a:cs typeface="Arial"/>
              </a:rPr>
              <a:t>eurex.com</a:t>
            </a:r>
          </a:p>
        </p:txBody>
      </p:sp>
      <p:grpSp>
        <p:nvGrpSpPr>
          <p:cNvPr id="20" name="Gruppieren 19">
            <a:extLst>
              <a:ext uri="{FF2B5EF4-FFF2-40B4-BE49-F238E27FC236}">
                <a16:creationId xmlns:a16="http://schemas.microsoft.com/office/drawing/2014/main" id="{2E8658D4-18AC-47E1-BB05-BD6E4F684844}"/>
              </a:ext>
            </a:extLst>
          </p:cNvPr>
          <p:cNvGrpSpPr>
            <a:grpSpLocks noChangeAspect="1"/>
          </p:cNvGrpSpPr>
          <p:nvPr/>
        </p:nvGrpSpPr>
        <p:grpSpPr bwMode="gray">
          <a:xfrm>
            <a:off x="6795737" y="2061321"/>
            <a:ext cx="5396263" cy="4796679"/>
            <a:chOff x="1523492" y="1772816"/>
            <a:chExt cx="4286250" cy="3810000"/>
          </a:xfrm>
        </p:grpSpPr>
        <p:sp>
          <p:nvSpPr>
            <p:cNvPr id="21" name="Freihandform: Form 20">
              <a:extLst>
                <a:ext uri="{FF2B5EF4-FFF2-40B4-BE49-F238E27FC236}">
                  <a16:creationId xmlns:a16="http://schemas.microsoft.com/office/drawing/2014/main" id="{B80A6452-C4C0-4689-9D82-D012C6062047}"/>
                </a:ext>
              </a:extLst>
            </p:cNvPr>
            <p:cNvSpPr/>
            <p:nvPr/>
          </p:nvSpPr>
          <p:spPr bwMode="gray">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pPr rtl="0"/>
              <a:endParaRPr lang="en-US" noProof="0" dirty="0"/>
            </a:p>
          </p:txBody>
        </p:sp>
        <p:sp>
          <p:nvSpPr>
            <p:cNvPr id="22" name="Freihandform: Form 21">
              <a:extLst>
                <a:ext uri="{FF2B5EF4-FFF2-40B4-BE49-F238E27FC236}">
                  <a16:creationId xmlns:a16="http://schemas.microsoft.com/office/drawing/2014/main" id="{C6B87D13-2E44-488B-8720-15BDDC34C439}"/>
                </a:ext>
              </a:extLst>
            </p:cNvPr>
            <p:cNvSpPr/>
            <p:nvPr/>
          </p:nvSpPr>
          <p:spPr bwMode="gray">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pPr rtl="0"/>
              <a:endParaRPr lang="en-US" noProof="0" dirty="0"/>
            </a:p>
          </p:txBody>
        </p:sp>
        <p:sp>
          <p:nvSpPr>
            <p:cNvPr id="25" name="Freihandform: Form 24">
              <a:extLst>
                <a:ext uri="{FF2B5EF4-FFF2-40B4-BE49-F238E27FC236}">
                  <a16:creationId xmlns:a16="http://schemas.microsoft.com/office/drawing/2014/main" id="{8E2F3DBB-D667-4CFF-A200-6DE864AE4012}"/>
                </a:ext>
              </a:extLst>
            </p:cNvPr>
            <p:cNvSpPr/>
            <p:nvPr/>
          </p:nvSpPr>
          <p:spPr bwMode="gray">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pPr rtl="0"/>
              <a:endParaRPr lang="en-US" noProof="0" dirty="0"/>
            </a:p>
          </p:txBody>
        </p:sp>
        <p:sp>
          <p:nvSpPr>
            <p:cNvPr id="30" name="Freihandform: Form 29">
              <a:extLst>
                <a:ext uri="{FF2B5EF4-FFF2-40B4-BE49-F238E27FC236}">
                  <a16:creationId xmlns:a16="http://schemas.microsoft.com/office/drawing/2014/main" id="{AC59F40D-BFD8-4484-B9DB-E0B4B94CBD66}"/>
                </a:ext>
              </a:extLst>
            </p:cNvPr>
            <p:cNvSpPr/>
            <p:nvPr/>
          </p:nvSpPr>
          <p:spPr bwMode="gray">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pPr rtl="0"/>
              <a:endParaRPr lang="en-US" noProof="0" dirty="0"/>
            </a:p>
          </p:txBody>
        </p:sp>
        <p:sp>
          <p:nvSpPr>
            <p:cNvPr id="31" name="Freihandform: Form 30">
              <a:extLst>
                <a:ext uri="{FF2B5EF4-FFF2-40B4-BE49-F238E27FC236}">
                  <a16:creationId xmlns:a16="http://schemas.microsoft.com/office/drawing/2014/main" id="{B9386CE8-8182-4603-A8F8-3E0FDA3C35AF}"/>
                </a:ext>
              </a:extLst>
            </p:cNvPr>
            <p:cNvSpPr/>
            <p:nvPr/>
          </p:nvSpPr>
          <p:spPr bwMode="gray">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pPr rtl="0"/>
              <a:endParaRPr lang="en-US" noProof="0" dirty="0"/>
            </a:p>
          </p:txBody>
        </p:sp>
      </p:grpSp>
      <p:pic>
        <p:nvPicPr>
          <p:cNvPr id="33" name="Grafik 32">
            <a:extLst>
              <a:ext uri="{FF2B5EF4-FFF2-40B4-BE49-F238E27FC236}">
                <a16:creationId xmlns:a16="http://schemas.microsoft.com/office/drawing/2014/main" id="{0E1A2CB0-6D74-448A-80A4-4DC1F573C46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bwMode="gray">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p:nvGrpSpPr>
        <p:grpSpPr bwMode="gray">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bwMode="gray">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bwMode="gray">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bwMode="gray">
            <a:xfrm>
              <a:off x="3483366" y="5826892"/>
              <a:ext cx="389641" cy="389641"/>
            </a:xfrm>
            <a:prstGeom prst="rect">
              <a:avLst/>
            </a:prstGeom>
          </p:spPr>
        </p:pic>
      </p:grpSp>
      <p:grpSp>
        <p:nvGrpSpPr>
          <p:cNvPr id="19" name="Gruppieren 18">
            <a:extLst>
              <a:ext uri="{FF2B5EF4-FFF2-40B4-BE49-F238E27FC236}">
                <a16:creationId xmlns:a16="http://schemas.microsoft.com/office/drawing/2014/main" id="{A04373BF-A277-48A3-8D43-D377404F8B46}"/>
              </a:ext>
            </a:extLst>
          </p:cNvPr>
          <p:cNvGrpSpPr/>
          <p:nvPr/>
        </p:nvGrpSpPr>
        <p:grpSpPr bwMode="gray">
          <a:xfrm>
            <a:off x="10804526" y="1"/>
            <a:ext cx="809625" cy="1135063"/>
            <a:chOff x="10804526" y="1"/>
            <a:chExt cx="809625" cy="1135063"/>
          </a:xfrm>
        </p:grpSpPr>
        <p:sp>
          <p:nvSpPr>
            <p:cNvPr id="23" name="Freihandform: Form 22">
              <a:extLst>
                <a:ext uri="{FF2B5EF4-FFF2-40B4-BE49-F238E27FC236}">
                  <a16:creationId xmlns:a16="http://schemas.microsoft.com/office/drawing/2014/main" id="{99B857AA-78E9-48C5-8CC0-F52A3FB5F827}"/>
                </a:ext>
              </a:extLst>
            </p:cNvPr>
            <p:cNvSpPr/>
            <p:nvPr userDrawn="1"/>
          </p:nvSpPr>
          <p:spPr bwMode="gray">
            <a:xfrm>
              <a:off x="10804526" y="1"/>
              <a:ext cx="809625" cy="1135063"/>
            </a:xfrm>
            <a:custGeom>
              <a:avLst/>
              <a:gdLst>
                <a:gd name="connsiteX0" fmla="*/ 0 w 809625"/>
                <a:gd name="connsiteY0" fmla="*/ 0 h 1135063"/>
                <a:gd name="connsiteX1" fmla="*/ 809625 w 809625"/>
                <a:gd name="connsiteY1" fmla="*/ 0 h 1135063"/>
                <a:gd name="connsiteX2" fmla="*/ 809625 w 809625"/>
                <a:gd name="connsiteY2" fmla="*/ 730422 h 1135063"/>
                <a:gd name="connsiteX3" fmla="*/ 404813 w 809625"/>
                <a:gd name="connsiteY3" fmla="*/ 1135063 h 1135063"/>
                <a:gd name="connsiteX4" fmla="*/ 0 w 809625"/>
                <a:gd name="connsiteY4" fmla="*/ 730422 h 1135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1135063">
                  <a:moveTo>
                    <a:pt x="0" y="0"/>
                  </a:moveTo>
                  <a:lnTo>
                    <a:pt x="809625" y="0"/>
                  </a:lnTo>
                  <a:lnTo>
                    <a:pt x="809625" y="730422"/>
                  </a:lnTo>
                  <a:cubicBezTo>
                    <a:pt x="809625" y="953908"/>
                    <a:pt x="628489" y="1135063"/>
                    <a:pt x="404813" y="1135063"/>
                  </a:cubicBezTo>
                  <a:cubicBezTo>
                    <a:pt x="181308" y="1135063"/>
                    <a:pt x="0" y="953908"/>
                    <a:pt x="0" y="730422"/>
                  </a:cubicBezTo>
                  <a:close/>
                </a:path>
              </a:pathLst>
            </a:custGeom>
            <a:solidFill>
              <a:srgbClr val="20175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bIns="79200" rtlCol="0" anchor="ctr">
              <a:noAutofit/>
            </a:bodyPr>
            <a:lstStyle/>
            <a:p>
              <a:pPr algn="ctr" rtl="0"/>
              <a:endParaRPr lang="en-US" sz="1400" dirty="0"/>
            </a:p>
          </p:txBody>
        </p:sp>
        <p:sp>
          <p:nvSpPr>
            <p:cNvPr id="24" name="Freeform 17">
              <a:extLst>
                <a:ext uri="{FF2B5EF4-FFF2-40B4-BE49-F238E27FC236}">
                  <a16:creationId xmlns:a16="http://schemas.microsoft.com/office/drawing/2014/main" id="{E700AB1C-EBB2-47AD-8A16-413F56ACDB4D}"/>
                </a:ext>
              </a:extLst>
            </p:cNvPr>
            <p:cNvSpPr>
              <a:spLocks noEditPoints="1"/>
            </p:cNvSpPr>
            <p:nvPr userDrawn="1"/>
          </p:nvSpPr>
          <p:spPr bwMode="gray">
            <a:xfrm>
              <a:off x="10929938" y="487363"/>
              <a:ext cx="595313" cy="320675"/>
            </a:xfrm>
            <a:custGeom>
              <a:avLst/>
              <a:gdLst>
                <a:gd name="T0" fmla="*/ 3270 w 3471"/>
                <a:gd name="T1" fmla="*/ 1872 h 1872"/>
                <a:gd name="T2" fmla="*/ 3137 w 3471"/>
                <a:gd name="T3" fmla="*/ 1817 h 1872"/>
                <a:gd name="T4" fmla="*/ 2679 w 3471"/>
                <a:gd name="T5" fmla="*/ 1358 h 1872"/>
                <a:gd name="T6" fmla="*/ 2677 w 3471"/>
                <a:gd name="T7" fmla="*/ 1096 h 1872"/>
                <a:gd name="T8" fmla="*/ 2806 w 3471"/>
                <a:gd name="T9" fmla="*/ 1042 h 1872"/>
                <a:gd name="T10" fmla="*/ 2939 w 3471"/>
                <a:gd name="T11" fmla="*/ 1098 h 1872"/>
                <a:gd name="T12" fmla="*/ 3397 w 3471"/>
                <a:gd name="T13" fmla="*/ 1557 h 1872"/>
                <a:gd name="T14" fmla="*/ 3452 w 3471"/>
                <a:gd name="T15" fmla="*/ 1688 h 1872"/>
                <a:gd name="T16" fmla="*/ 3399 w 3471"/>
                <a:gd name="T17" fmla="*/ 1819 h 1872"/>
                <a:gd name="T18" fmla="*/ 3270 w 3471"/>
                <a:gd name="T19" fmla="*/ 1872 h 1872"/>
                <a:gd name="T20" fmla="*/ 3270 w 3471"/>
                <a:gd name="T21" fmla="*/ 1872 h 1872"/>
                <a:gd name="T22" fmla="*/ 1787 w 3471"/>
                <a:gd name="T23" fmla="*/ 1872 h 1872"/>
                <a:gd name="T24" fmla="*/ 1658 w 3471"/>
                <a:gd name="T25" fmla="*/ 1819 h 1872"/>
                <a:gd name="T26" fmla="*/ 1605 w 3471"/>
                <a:gd name="T27" fmla="*/ 1688 h 1872"/>
                <a:gd name="T28" fmla="*/ 1660 w 3471"/>
                <a:gd name="T29" fmla="*/ 1557 h 1872"/>
                <a:gd name="T30" fmla="*/ 2119 w 3471"/>
                <a:gd name="T31" fmla="*/ 1098 h 1872"/>
                <a:gd name="T32" fmla="*/ 2252 w 3471"/>
                <a:gd name="T33" fmla="*/ 1042 h 1872"/>
                <a:gd name="T34" fmla="*/ 2381 w 3471"/>
                <a:gd name="T35" fmla="*/ 1096 h 1872"/>
                <a:gd name="T36" fmla="*/ 2379 w 3471"/>
                <a:gd name="T37" fmla="*/ 1358 h 1872"/>
                <a:gd name="T38" fmla="*/ 1920 w 3471"/>
                <a:gd name="T39" fmla="*/ 1817 h 1872"/>
                <a:gd name="T40" fmla="*/ 1787 w 3471"/>
                <a:gd name="T41" fmla="*/ 1872 h 1872"/>
                <a:gd name="T42" fmla="*/ 1787 w 3471"/>
                <a:gd name="T43" fmla="*/ 1872 h 1872"/>
                <a:gd name="T44" fmla="*/ 196 w 3471"/>
                <a:gd name="T45" fmla="*/ 1857 h 1872"/>
                <a:gd name="T46" fmla="*/ 0 w 3471"/>
                <a:gd name="T47" fmla="*/ 1662 h 1872"/>
                <a:gd name="T48" fmla="*/ 0 w 3471"/>
                <a:gd name="T49" fmla="*/ 211 h 1872"/>
                <a:gd name="T50" fmla="*/ 196 w 3471"/>
                <a:gd name="T51" fmla="*/ 16 h 1872"/>
                <a:gd name="T52" fmla="*/ 1219 w 3471"/>
                <a:gd name="T53" fmla="*/ 16 h 1872"/>
                <a:gd name="T54" fmla="*/ 1390 w 3471"/>
                <a:gd name="T55" fmla="*/ 185 h 1872"/>
                <a:gd name="T56" fmla="*/ 1219 w 3471"/>
                <a:gd name="T57" fmla="*/ 354 h 1872"/>
                <a:gd name="T58" fmla="*/ 372 w 3471"/>
                <a:gd name="T59" fmla="*/ 354 h 1872"/>
                <a:gd name="T60" fmla="*/ 372 w 3471"/>
                <a:gd name="T61" fmla="*/ 1518 h 1872"/>
                <a:gd name="T62" fmla="*/ 1232 w 3471"/>
                <a:gd name="T63" fmla="*/ 1518 h 1872"/>
                <a:gd name="T64" fmla="*/ 1404 w 3471"/>
                <a:gd name="T65" fmla="*/ 1688 h 1872"/>
                <a:gd name="T66" fmla="*/ 1232 w 3471"/>
                <a:gd name="T67" fmla="*/ 1857 h 1872"/>
                <a:gd name="T68" fmla="*/ 196 w 3471"/>
                <a:gd name="T69" fmla="*/ 1857 h 1872"/>
                <a:gd name="T70" fmla="*/ 590 w 3471"/>
                <a:gd name="T71" fmla="*/ 1099 h 1872"/>
                <a:gd name="T72" fmla="*/ 590 w 3471"/>
                <a:gd name="T73" fmla="*/ 761 h 1872"/>
                <a:gd name="T74" fmla="*/ 1628 w 3471"/>
                <a:gd name="T75" fmla="*/ 761 h 1872"/>
                <a:gd name="T76" fmla="*/ 1800 w 3471"/>
                <a:gd name="T77" fmla="*/ 930 h 1872"/>
                <a:gd name="T78" fmla="*/ 1628 w 3471"/>
                <a:gd name="T79" fmla="*/ 1099 h 1872"/>
                <a:gd name="T80" fmla="*/ 590 w 3471"/>
                <a:gd name="T81" fmla="*/ 1099 h 1872"/>
                <a:gd name="T82" fmla="*/ 2806 w 3471"/>
                <a:gd name="T83" fmla="*/ 831 h 1872"/>
                <a:gd name="T84" fmla="*/ 2677 w 3471"/>
                <a:gd name="T85" fmla="*/ 777 h 1872"/>
                <a:gd name="T86" fmla="*/ 2679 w 3471"/>
                <a:gd name="T87" fmla="*/ 515 h 1872"/>
                <a:gd name="T88" fmla="*/ 3137 w 3471"/>
                <a:gd name="T89" fmla="*/ 56 h 1872"/>
                <a:gd name="T90" fmla="*/ 3270 w 3471"/>
                <a:gd name="T91" fmla="*/ 0 h 1872"/>
                <a:gd name="T92" fmla="*/ 3399 w 3471"/>
                <a:gd name="T93" fmla="*/ 54 h 1872"/>
                <a:gd name="T94" fmla="*/ 3397 w 3471"/>
                <a:gd name="T95" fmla="*/ 316 h 1872"/>
                <a:gd name="T96" fmla="*/ 2939 w 3471"/>
                <a:gd name="T97" fmla="*/ 775 h 1872"/>
                <a:gd name="T98" fmla="*/ 2806 w 3471"/>
                <a:gd name="T99" fmla="*/ 831 h 1872"/>
                <a:gd name="T100" fmla="*/ 2252 w 3471"/>
                <a:gd name="T101" fmla="*/ 831 h 1872"/>
                <a:gd name="T102" fmla="*/ 2119 w 3471"/>
                <a:gd name="T103" fmla="*/ 775 h 1872"/>
                <a:gd name="T104" fmla="*/ 1660 w 3471"/>
                <a:gd name="T105" fmla="*/ 316 h 1872"/>
                <a:gd name="T106" fmla="*/ 1658 w 3471"/>
                <a:gd name="T107" fmla="*/ 54 h 1872"/>
                <a:gd name="T108" fmla="*/ 1787 w 3471"/>
                <a:gd name="T109" fmla="*/ 0 h 1872"/>
                <a:gd name="T110" fmla="*/ 1920 w 3471"/>
                <a:gd name="T111" fmla="*/ 56 h 1872"/>
                <a:gd name="T112" fmla="*/ 2379 w 3471"/>
                <a:gd name="T113" fmla="*/ 515 h 1872"/>
                <a:gd name="T114" fmla="*/ 2381 w 3471"/>
                <a:gd name="T115" fmla="*/ 777 h 1872"/>
                <a:gd name="T116" fmla="*/ 2252 w 3471"/>
                <a:gd name="T117" fmla="*/ 831 h 1872"/>
                <a:gd name="T118" fmla="*/ 2252 w 3471"/>
                <a:gd name="T119" fmla="*/ 831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71" h="1872">
                  <a:moveTo>
                    <a:pt x="3270" y="1872"/>
                  </a:moveTo>
                  <a:cubicBezTo>
                    <a:pt x="3220" y="1872"/>
                    <a:pt x="3173" y="1853"/>
                    <a:pt x="3137" y="1817"/>
                  </a:cubicBezTo>
                  <a:lnTo>
                    <a:pt x="2679" y="1358"/>
                  </a:lnTo>
                  <a:cubicBezTo>
                    <a:pt x="2606" y="1285"/>
                    <a:pt x="2605" y="1167"/>
                    <a:pt x="2677" y="1096"/>
                  </a:cubicBezTo>
                  <a:cubicBezTo>
                    <a:pt x="2711" y="1061"/>
                    <a:pt x="2757" y="1042"/>
                    <a:pt x="2806" y="1042"/>
                  </a:cubicBezTo>
                  <a:cubicBezTo>
                    <a:pt x="2856" y="1042"/>
                    <a:pt x="2903" y="1062"/>
                    <a:pt x="2939" y="1098"/>
                  </a:cubicBezTo>
                  <a:lnTo>
                    <a:pt x="3397" y="1557"/>
                  </a:lnTo>
                  <a:cubicBezTo>
                    <a:pt x="3432" y="1592"/>
                    <a:pt x="3452" y="1639"/>
                    <a:pt x="3452" y="1688"/>
                  </a:cubicBezTo>
                  <a:cubicBezTo>
                    <a:pt x="3453" y="1738"/>
                    <a:pt x="3434" y="1784"/>
                    <a:pt x="3399" y="1819"/>
                  </a:cubicBezTo>
                  <a:cubicBezTo>
                    <a:pt x="3365" y="1854"/>
                    <a:pt x="3319" y="1872"/>
                    <a:pt x="3270" y="1872"/>
                  </a:cubicBezTo>
                  <a:lnTo>
                    <a:pt x="3270" y="1872"/>
                  </a:lnTo>
                  <a:close/>
                  <a:moveTo>
                    <a:pt x="1787" y="1872"/>
                  </a:moveTo>
                  <a:cubicBezTo>
                    <a:pt x="1739" y="1872"/>
                    <a:pt x="1693" y="1854"/>
                    <a:pt x="1658" y="1819"/>
                  </a:cubicBezTo>
                  <a:cubicBezTo>
                    <a:pt x="1624" y="1784"/>
                    <a:pt x="1605" y="1738"/>
                    <a:pt x="1605" y="1688"/>
                  </a:cubicBezTo>
                  <a:cubicBezTo>
                    <a:pt x="1605" y="1639"/>
                    <a:pt x="1625" y="1592"/>
                    <a:pt x="1660" y="1557"/>
                  </a:cubicBezTo>
                  <a:lnTo>
                    <a:pt x="2119" y="1098"/>
                  </a:lnTo>
                  <a:cubicBezTo>
                    <a:pt x="2154" y="1062"/>
                    <a:pt x="2202" y="1042"/>
                    <a:pt x="2252" y="1042"/>
                  </a:cubicBezTo>
                  <a:cubicBezTo>
                    <a:pt x="2300" y="1042"/>
                    <a:pt x="2346" y="1061"/>
                    <a:pt x="2381" y="1096"/>
                  </a:cubicBezTo>
                  <a:cubicBezTo>
                    <a:pt x="2452" y="1167"/>
                    <a:pt x="2451" y="1285"/>
                    <a:pt x="2379" y="1358"/>
                  </a:cubicBezTo>
                  <a:lnTo>
                    <a:pt x="1920" y="1817"/>
                  </a:lnTo>
                  <a:cubicBezTo>
                    <a:pt x="1885" y="1853"/>
                    <a:pt x="1837" y="1872"/>
                    <a:pt x="1787" y="1872"/>
                  </a:cubicBezTo>
                  <a:cubicBezTo>
                    <a:pt x="1787" y="1872"/>
                    <a:pt x="1787" y="1872"/>
                    <a:pt x="1787" y="1872"/>
                  </a:cubicBezTo>
                  <a:close/>
                  <a:moveTo>
                    <a:pt x="196" y="1857"/>
                  </a:moveTo>
                  <a:cubicBezTo>
                    <a:pt x="87" y="1857"/>
                    <a:pt x="0" y="1771"/>
                    <a:pt x="0" y="1662"/>
                  </a:cubicBezTo>
                  <a:lnTo>
                    <a:pt x="0" y="211"/>
                  </a:lnTo>
                  <a:cubicBezTo>
                    <a:pt x="0" y="102"/>
                    <a:pt x="87" y="16"/>
                    <a:pt x="196" y="16"/>
                  </a:cubicBezTo>
                  <a:lnTo>
                    <a:pt x="1219" y="16"/>
                  </a:lnTo>
                  <a:cubicBezTo>
                    <a:pt x="1313" y="16"/>
                    <a:pt x="1390" y="92"/>
                    <a:pt x="1390" y="185"/>
                  </a:cubicBezTo>
                  <a:cubicBezTo>
                    <a:pt x="1390" y="278"/>
                    <a:pt x="1313" y="354"/>
                    <a:pt x="1219" y="354"/>
                  </a:cubicBezTo>
                  <a:lnTo>
                    <a:pt x="372" y="354"/>
                  </a:lnTo>
                  <a:lnTo>
                    <a:pt x="372" y="1518"/>
                  </a:lnTo>
                  <a:lnTo>
                    <a:pt x="1232" y="1518"/>
                  </a:lnTo>
                  <a:cubicBezTo>
                    <a:pt x="1327" y="1518"/>
                    <a:pt x="1404" y="1594"/>
                    <a:pt x="1404" y="1688"/>
                  </a:cubicBezTo>
                  <a:cubicBezTo>
                    <a:pt x="1404" y="1781"/>
                    <a:pt x="1327" y="1857"/>
                    <a:pt x="1232" y="1857"/>
                  </a:cubicBezTo>
                  <a:lnTo>
                    <a:pt x="196" y="1857"/>
                  </a:lnTo>
                  <a:close/>
                  <a:moveTo>
                    <a:pt x="590" y="1099"/>
                  </a:moveTo>
                  <a:lnTo>
                    <a:pt x="590" y="761"/>
                  </a:lnTo>
                  <a:lnTo>
                    <a:pt x="1628" y="761"/>
                  </a:lnTo>
                  <a:cubicBezTo>
                    <a:pt x="1723" y="761"/>
                    <a:pt x="1800" y="837"/>
                    <a:pt x="1800" y="930"/>
                  </a:cubicBezTo>
                  <a:cubicBezTo>
                    <a:pt x="1800" y="1023"/>
                    <a:pt x="1723" y="1099"/>
                    <a:pt x="1628" y="1099"/>
                  </a:cubicBezTo>
                  <a:lnTo>
                    <a:pt x="590" y="1099"/>
                  </a:lnTo>
                  <a:close/>
                  <a:moveTo>
                    <a:pt x="2806" y="831"/>
                  </a:moveTo>
                  <a:cubicBezTo>
                    <a:pt x="2757" y="831"/>
                    <a:pt x="2711" y="812"/>
                    <a:pt x="2677" y="777"/>
                  </a:cubicBezTo>
                  <a:cubicBezTo>
                    <a:pt x="2605" y="706"/>
                    <a:pt x="2606" y="588"/>
                    <a:pt x="2679" y="515"/>
                  </a:cubicBezTo>
                  <a:lnTo>
                    <a:pt x="3137" y="56"/>
                  </a:lnTo>
                  <a:cubicBezTo>
                    <a:pt x="3173" y="20"/>
                    <a:pt x="3220" y="0"/>
                    <a:pt x="3270" y="0"/>
                  </a:cubicBezTo>
                  <a:cubicBezTo>
                    <a:pt x="3319" y="0"/>
                    <a:pt x="3365" y="19"/>
                    <a:pt x="3399" y="54"/>
                  </a:cubicBezTo>
                  <a:cubicBezTo>
                    <a:pt x="3471" y="126"/>
                    <a:pt x="3470" y="243"/>
                    <a:pt x="3397" y="316"/>
                  </a:cubicBezTo>
                  <a:lnTo>
                    <a:pt x="2939" y="775"/>
                  </a:lnTo>
                  <a:cubicBezTo>
                    <a:pt x="2903" y="811"/>
                    <a:pt x="2856" y="831"/>
                    <a:pt x="2806" y="831"/>
                  </a:cubicBezTo>
                  <a:close/>
                  <a:moveTo>
                    <a:pt x="2252" y="831"/>
                  </a:moveTo>
                  <a:cubicBezTo>
                    <a:pt x="2202" y="831"/>
                    <a:pt x="2154" y="811"/>
                    <a:pt x="2119" y="775"/>
                  </a:cubicBezTo>
                  <a:lnTo>
                    <a:pt x="1660" y="316"/>
                  </a:lnTo>
                  <a:cubicBezTo>
                    <a:pt x="1588" y="243"/>
                    <a:pt x="1587" y="126"/>
                    <a:pt x="1658" y="54"/>
                  </a:cubicBezTo>
                  <a:cubicBezTo>
                    <a:pt x="1693" y="19"/>
                    <a:pt x="1739" y="0"/>
                    <a:pt x="1787" y="0"/>
                  </a:cubicBezTo>
                  <a:cubicBezTo>
                    <a:pt x="1837" y="0"/>
                    <a:pt x="1885" y="20"/>
                    <a:pt x="1920" y="56"/>
                  </a:cubicBezTo>
                  <a:lnTo>
                    <a:pt x="2379" y="515"/>
                  </a:lnTo>
                  <a:cubicBezTo>
                    <a:pt x="2451" y="588"/>
                    <a:pt x="2452" y="706"/>
                    <a:pt x="2381" y="777"/>
                  </a:cubicBezTo>
                  <a:cubicBezTo>
                    <a:pt x="2346" y="812"/>
                    <a:pt x="2300" y="831"/>
                    <a:pt x="2252" y="831"/>
                  </a:cubicBezTo>
                  <a:lnTo>
                    <a:pt x="2252" y="83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US" dirty="0"/>
            </a:p>
          </p:txBody>
        </p:sp>
      </p:grpSp>
    </p:spTree>
    <p:extLst>
      <p:ext uri="{BB962C8B-B14F-4D97-AF65-F5344CB8AC3E}">
        <p14:creationId xmlns:p14="http://schemas.microsoft.com/office/powerpoint/2010/main" val="4243702008"/>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p:custDataLst>
              <p:tags r:id="rId2"/>
            </p:custDataLst>
            <p:extLst>
              <p:ext uri="{D42A27DB-BD31-4B8C-83A1-F6EECF244321}">
                <p14:modId xmlns:p14="http://schemas.microsoft.com/office/powerpoint/2010/main" val="3903207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1" name="think-cell Folie" r:id="rId5" imgW="286" imgH="286" progId="TCLayout.ActiveDocument.1">
                  <p:embed/>
                </p:oleObj>
              </mc:Choice>
              <mc:Fallback>
                <p:oleObj name="think-cell Foli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US" sz="3000" b="1" i="0" baseline="0"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vert="horz" anchor="t" anchorCtr="0"/>
          <a:lstStyle>
            <a:lvl1pPr algn="l" rtl="0">
              <a:lnSpc>
                <a:spcPct val="100000"/>
              </a:lnSpc>
              <a:spcBef>
                <a:spcPts val="0"/>
              </a:spcBef>
              <a:defRPr sz="4300" b="1">
                <a:solidFill>
                  <a:schemeClr val="tx1"/>
                </a:solidFill>
              </a:defRPr>
            </a:lvl1pPr>
          </a:lstStyle>
          <a:p>
            <a:r>
              <a:rPr lang="en-US" noProof="0" dirty="0"/>
              <a:t>Presentation </a:t>
            </a:r>
            <a:br>
              <a:rPr lang="en-US" noProof="0" dirty="0"/>
            </a:br>
            <a:r>
              <a:rPr lang="en-US" noProof="0" dirty="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rtl="0">
              <a:lnSpc>
                <a:spcPct val="100000"/>
              </a:lnSpc>
              <a:spcBef>
                <a:spcPts val="0"/>
              </a:spcBef>
              <a:spcAft>
                <a:spcPts val="0"/>
              </a:spcAft>
              <a:buNone/>
              <a:defRPr sz="2400">
                <a:solidFill>
                  <a:schemeClr val="tx1"/>
                </a:solidFill>
                <a:latin typeface="+mn-lt"/>
                <a:cs typeface="Abadi MT Condensed Extra Bold"/>
              </a:defRPr>
            </a:lvl1pPr>
            <a:lvl2pPr marL="0" indent="0" algn="l">
              <a:lnSpc>
                <a:spcPct val="100000"/>
              </a:lnSpc>
              <a:spcAft>
                <a:spcPts val="0"/>
              </a:spcAft>
              <a:buNone/>
              <a:defRPr sz="2400"/>
            </a:lvl2pPr>
            <a:lvl3pPr marL="0" indent="0" algn="l">
              <a:lnSpc>
                <a:spcPct val="100000"/>
              </a:lnSpc>
              <a:spcAft>
                <a:spcPts val="0"/>
              </a:spcAft>
              <a:buNone/>
              <a:defRPr sz="2400"/>
            </a:lvl3pPr>
            <a:lvl4pPr marL="0" indent="0" algn="l">
              <a:lnSpc>
                <a:spcPct val="100000"/>
              </a:lnSpc>
              <a:spcAft>
                <a:spcPts val="0"/>
              </a:spcAft>
              <a:buNone/>
              <a:defRPr sz="2400"/>
            </a:lvl4pPr>
            <a:lvl5pPr marL="0" indent="0" algn="l">
              <a:lnSpc>
                <a:spcPct val="100000"/>
              </a:lnSpc>
              <a:spcAft>
                <a:spcPts val="0"/>
              </a:spcAft>
              <a:buNone/>
              <a:defRPr sz="2400"/>
            </a:lvl5pPr>
            <a:lvl6pPr marL="0" indent="0" algn="l">
              <a:lnSpc>
                <a:spcPct val="100000"/>
              </a:lnSpc>
              <a:spcAft>
                <a:spcPts val="0"/>
              </a:spcAft>
              <a:buNone/>
              <a:defRPr sz="2400"/>
            </a:lvl6pPr>
            <a:lvl7pPr marL="0" indent="0" algn="l">
              <a:lnSpc>
                <a:spcPct val="100000"/>
              </a:lnSpc>
              <a:spcAft>
                <a:spcPts val="0"/>
              </a:spcAft>
              <a:buNone/>
              <a:defRPr sz="2400"/>
            </a:lvl7pPr>
            <a:lvl8pPr marL="0" indent="0" algn="l">
              <a:lnSpc>
                <a:spcPct val="100000"/>
              </a:lnSpc>
              <a:spcAft>
                <a:spcPts val="0"/>
              </a:spcAft>
              <a:buNone/>
              <a:defRPr sz="2400"/>
            </a:lvl8pPr>
            <a:lvl9pPr marL="0" indent="0" algn="l">
              <a:lnSpc>
                <a:spcPct val="100000"/>
              </a:lnSpc>
              <a:spcAft>
                <a:spcPts val="0"/>
              </a:spcAft>
              <a:buNone/>
              <a:defRPr sz="2400"/>
            </a:lvl9pPr>
          </a:lstStyle>
          <a:p>
            <a:r>
              <a:rPr lang="en-US" noProof="0" dirty="0"/>
              <a:t>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gray">
          <a:xfrm>
            <a:off x="586817" y="4689140"/>
            <a:ext cx="3529571" cy="288032"/>
          </a:xfrm>
        </p:spPr>
        <p:txBody>
          <a:bodyPr anchor="t"/>
          <a:lstStyle>
            <a:lvl1pPr marL="0" indent="0" algn="l" rtl="0">
              <a:lnSpc>
                <a:spcPct val="100000"/>
              </a:lnSpc>
              <a:spcBef>
                <a:spcPts val="0"/>
              </a:spcBef>
              <a:spcAft>
                <a:spcPts val="0"/>
              </a:spcAft>
              <a:buFontTx/>
              <a:buNone/>
              <a:defRPr sz="1400"/>
            </a:lvl1pPr>
            <a:lvl2pPr marL="0" indent="0">
              <a:lnSpc>
                <a:spcPct val="100000"/>
              </a:lnSpc>
              <a:spcBef>
                <a:spcPts val="0"/>
              </a:spcBef>
              <a:spcAft>
                <a:spcPts val="0"/>
              </a:spcAft>
              <a:buFontTx/>
              <a:buNone/>
              <a:defRPr sz="1400"/>
            </a:lvl2pPr>
            <a:lvl3pPr marL="0" indent="0">
              <a:lnSpc>
                <a:spcPct val="100000"/>
              </a:lnSpc>
              <a:spcBef>
                <a:spcPts val="0"/>
              </a:spcBef>
              <a:spcAft>
                <a:spcPts val="0"/>
              </a:spcAft>
              <a:buFontTx/>
              <a:buNone/>
              <a:defRPr sz="1400"/>
            </a:lvl3pPr>
            <a:lvl4pPr marL="0" indent="0">
              <a:lnSpc>
                <a:spcPct val="100000"/>
              </a:lnSpc>
              <a:spcBef>
                <a:spcPts val="0"/>
              </a:spcBef>
              <a:spcAft>
                <a:spcPts val="0"/>
              </a:spcAft>
              <a:buFontTx/>
              <a:buNone/>
              <a:defRPr sz="1400"/>
            </a:lvl4pPr>
            <a:lvl5pPr marL="0" indent="0">
              <a:lnSpc>
                <a:spcPct val="100000"/>
              </a:lnSpc>
              <a:spcBef>
                <a:spcPts val="0"/>
              </a:spcBef>
              <a:spcAft>
                <a:spcPts val="0"/>
              </a:spcAft>
              <a:buFontTx/>
              <a:buNone/>
              <a:defRPr sz="1400"/>
            </a:lvl5pPr>
            <a:lvl6pPr marL="0" indent="0">
              <a:lnSpc>
                <a:spcPct val="100000"/>
              </a:lnSpc>
              <a:spcBef>
                <a:spcPts val="0"/>
              </a:spcBef>
              <a:spcAft>
                <a:spcPts val="0"/>
              </a:spcAft>
              <a:buFontTx/>
              <a:buNone/>
              <a:defRPr sz="1400"/>
            </a:lvl6pPr>
            <a:lvl7pPr marL="0" indent="0">
              <a:lnSpc>
                <a:spcPct val="100000"/>
              </a:lnSpc>
              <a:spcBef>
                <a:spcPts val="0"/>
              </a:spcBef>
              <a:spcAft>
                <a:spcPts val="0"/>
              </a:spcAft>
              <a:buFontTx/>
              <a:buNone/>
              <a:defRPr sz="1400"/>
            </a:lvl7pPr>
            <a:lvl8pPr marL="0" indent="0">
              <a:lnSpc>
                <a:spcPct val="100000"/>
              </a:lnSpc>
              <a:spcBef>
                <a:spcPts val="0"/>
              </a:spcBef>
              <a:spcAft>
                <a:spcPts val="0"/>
              </a:spcAft>
              <a:buFontTx/>
              <a:buNone/>
              <a:defRPr sz="1400"/>
            </a:lvl8pPr>
            <a:lvl9pPr marL="0" indent="0">
              <a:lnSpc>
                <a:spcPct val="100000"/>
              </a:lnSpc>
              <a:spcBef>
                <a:spcPts val="0"/>
              </a:spcBef>
              <a:spcAft>
                <a:spcPts val="0"/>
              </a:spcAft>
              <a:buFontTx/>
              <a:buNone/>
              <a:defRPr sz="1400"/>
            </a:lvl9pPr>
          </a:lstStyle>
          <a:p>
            <a:fld id="{C2FAAA42-85D2-4B64-AB82-9B1A7713D16B}" type="datetime1">
              <a:rPr lang="en-US"/>
              <a:t>1/16/2022</a:t>
            </a:fld>
            <a:endParaRPr lang="en-US" dirty="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bwMode="gray">
          <a:xfrm>
            <a:off x="601200" y="476936"/>
            <a:ext cx="3638169" cy="329870"/>
          </a:xfrm>
          <a:prstGeom prst="rect">
            <a:avLst/>
          </a:prstGeom>
        </p:spPr>
      </p:pic>
      <p:grpSp>
        <p:nvGrpSpPr>
          <p:cNvPr id="16" name="Gruppieren 15">
            <a:extLst>
              <a:ext uri="{FF2B5EF4-FFF2-40B4-BE49-F238E27FC236}">
                <a16:creationId xmlns:a16="http://schemas.microsoft.com/office/drawing/2014/main" id="{8D760FE9-CA9E-4E13-B24D-08CAE7262CBB}"/>
              </a:ext>
            </a:extLst>
          </p:cNvPr>
          <p:cNvGrpSpPr>
            <a:grpSpLocks noChangeAspect="1"/>
          </p:cNvGrpSpPr>
          <p:nvPr/>
        </p:nvGrpSpPr>
        <p:grpSpPr bwMode="gray">
          <a:xfrm>
            <a:off x="6795737" y="2061321"/>
            <a:ext cx="5396263" cy="4796679"/>
            <a:chOff x="1523492" y="1772816"/>
            <a:chExt cx="4286250" cy="3810000"/>
          </a:xfrm>
        </p:grpSpPr>
        <p:sp>
          <p:nvSpPr>
            <p:cNvPr id="17" name="Freihandform: Form 16">
              <a:extLst>
                <a:ext uri="{FF2B5EF4-FFF2-40B4-BE49-F238E27FC236}">
                  <a16:creationId xmlns:a16="http://schemas.microsoft.com/office/drawing/2014/main" id="{0927FB20-9879-4BBD-AEEC-9C317AC8C1B1}"/>
                </a:ext>
              </a:extLst>
            </p:cNvPr>
            <p:cNvSpPr/>
            <p:nvPr/>
          </p:nvSpPr>
          <p:spPr bwMode="gray">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pPr rtl="0"/>
              <a:endParaRPr lang="en-US" dirty="0"/>
            </a:p>
          </p:txBody>
        </p:sp>
        <p:sp>
          <p:nvSpPr>
            <p:cNvPr id="18" name="Freihandform: Form 17">
              <a:extLst>
                <a:ext uri="{FF2B5EF4-FFF2-40B4-BE49-F238E27FC236}">
                  <a16:creationId xmlns:a16="http://schemas.microsoft.com/office/drawing/2014/main" id="{20659511-CA53-45C8-A6C9-80C8B0AB2970}"/>
                </a:ext>
              </a:extLst>
            </p:cNvPr>
            <p:cNvSpPr/>
            <p:nvPr/>
          </p:nvSpPr>
          <p:spPr bwMode="gray">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pPr rtl="0"/>
              <a:endParaRPr lang="en-US" dirty="0"/>
            </a:p>
          </p:txBody>
        </p:sp>
        <p:sp>
          <p:nvSpPr>
            <p:cNvPr id="19" name="Freihandform: Form 18">
              <a:extLst>
                <a:ext uri="{FF2B5EF4-FFF2-40B4-BE49-F238E27FC236}">
                  <a16:creationId xmlns:a16="http://schemas.microsoft.com/office/drawing/2014/main" id="{8BF39AA4-A4D1-486C-91DA-3EBF982CA638}"/>
                </a:ext>
              </a:extLst>
            </p:cNvPr>
            <p:cNvSpPr/>
            <p:nvPr/>
          </p:nvSpPr>
          <p:spPr bwMode="gray">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pPr rtl="0"/>
              <a:endParaRPr lang="en-US" dirty="0"/>
            </a:p>
          </p:txBody>
        </p:sp>
        <p:sp>
          <p:nvSpPr>
            <p:cNvPr id="20" name="Freihandform: Form 19">
              <a:extLst>
                <a:ext uri="{FF2B5EF4-FFF2-40B4-BE49-F238E27FC236}">
                  <a16:creationId xmlns:a16="http://schemas.microsoft.com/office/drawing/2014/main" id="{56FCA6CD-1C5D-476F-939F-87503A7AF6AF}"/>
                </a:ext>
              </a:extLst>
            </p:cNvPr>
            <p:cNvSpPr/>
            <p:nvPr/>
          </p:nvSpPr>
          <p:spPr bwMode="gray">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pPr rtl="0"/>
              <a:endParaRPr lang="en-US" dirty="0"/>
            </a:p>
          </p:txBody>
        </p:sp>
        <p:sp>
          <p:nvSpPr>
            <p:cNvPr id="21" name="Freihandform: Form 20">
              <a:extLst>
                <a:ext uri="{FF2B5EF4-FFF2-40B4-BE49-F238E27FC236}">
                  <a16:creationId xmlns:a16="http://schemas.microsoft.com/office/drawing/2014/main" id="{84DAFE5C-9E41-4B97-9A80-8FCE93DDDF38}"/>
                </a:ext>
              </a:extLst>
            </p:cNvPr>
            <p:cNvSpPr/>
            <p:nvPr/>
          </p:nvSpPr>
          <p:spPr bwMode="gray">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pPr rtl="0"/>
              <a:endParaRPr lang="en-US" dirty="0"/>
            </a:p>
          </p:txBody>
        </p:sp>
      </p:grpSp>
      <p:grpSp>
        <p:nvGrpSpPr>
          <p:cNvPr id="24" name="Gruppieren 23">
            <a:extLst>
              <a:ext uri="{FF2B5EF4-FFF2-40B4-BE49-F238E27FC236}">
                <a16:creationId xmlns:a16="http://schemas.microsoft.com/office/drawing/2014/main" id="{27A247A1-6E06-46FF-A63C-2F0B4428A9ED}"/>
              </a:ext>
            </a:extLst>
          </p:cNvPr>
          <p:cNvGrpSpPr/>
          <p:nvPr/>
        </p:nvGrpSpPr>
        <p:grpSpPr bwMode="gray">
          <a:xfrm>
            <a:off x="10804526" y="1"/>
            <a:ext cx="809625" cy="1135063"/>
            <a:chOff x="10804526" y="1"/>
            <a:chExt cx="809625" cy="1135063"/>
          </a:xfrm>
        </p:grpSpPr>
        <p:sp>
          <p:nvSpPr>
            <p:cNvPr id="26" name="Freihandform: Form 25">
              <a:extLst>
                <a:ext uri="{FF2B5EF4-FFF2-40B4-BE49-F238E27FC236}">
                  <a16:creationId xmlns:a16="http://schemas.microsoft.com/office/drawing/2014/main" id="{7E3B2CB8-C3FC-45D4-AB28-8075EC762991}"/>
                </a:ext>
              </a:extLst>
            </p:cNvPr>
            <p:cNvSpPr/>
            <p:nvPr userDrawn="1"/>
          </p:nvSpPr>
          <p:spPr bwMode="gray">
            <a:xfrm>
              <a:off x="10804526" y="1"/>
              <a:ext cx="809625" cy="1135063"/>
            </a:xfrm>
            <a:custGeom>
              <a:avLst/>
              <a:gdLst>
                <a:gd name="connsiteX0" fmla="*/ 0 w 809625"/>
                <a:gd name="connsiteY0" fmla="*/ 0 h 1135063"/>
                <a:gd name="connsiteX1" fmla="*/ 809625 w 809625"/>
                <a:gd name="connsiteY1" fmla="*/ 0 h 1135063"/>
                <a:gd name="connsiteX2" fmla="*/ 809625 w 809625"/>
                <a:gd name="connsiteY2" fmla="*/ 730422 h 1135063"/>
                <a:gd name="connsiteX3" fmla="*/ 404813 w 809625"/>
                <a:gd name="connsiteY3" fmla="*/ 1135063 h 1135063"/>
                <a:gd name="connsiteX4" fmla="*/ 0 w 809625"/>
                <a:gd name="connsiteY4" fmla="*/ 730422 h 1135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1135063">
                  <a:moveTo>
                    <a:pt x="0" y="0"/>
                  </a:moveTo>
                  <a:lnTo>
                    <a:pt x="809625" y="0"/>
                  </a:lnTo>
                  <a:lnTo>
                    <a:pt x="809625" y="730422"/>
                  </a:lnTo>
                  <a:cubicBezTo>
                    <a:pt x="809625" y="953908"/>
                    <a:pt x="628489" y="1135063"/>
                    <a:pt x="404813" y="1135063"/>
                  </a:cubicBezTo>
                  <a:cubicBezTo>
                    <a:pt x="181308" y="1135063"/>
                    <a:pt x="0" y="953908"/>
                    <a:pt x="0" y="730422"/>
                  </a:cubicBezTo>
                  <a:close/>
                </a:path>
              </a:pathLst>
            </a:custGeom>
            <a:solidFill>
              <a:srgbClr val="20175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bIns="79200" rtlCol="0" anchor="ctr">
              <a:noAutofit/>
            </a:bodyPr>
            <a:lstStyle/>
            <a:p>
              <a:pPr algn="ctr" rtl="0"/>
              <a:endParaRPr lang="en-US" sz="1400" dirty="0"/>
            </a:p>
          </p:txBody>
        </p:sp>
        <p:sp>
          <p:nvSpPr>
            <p:cNvPr id="27" name="Freeform 17">
              <a:extLst>
                <a:ext uri="{FF2B5EF4-FFF2-40B4-BE49-F238E27FC236}">
                  <a16:creationId xmlns:a16="http://schemas.microsoft.com/office/drawing/2014/main" id="{4A53CE83-EAA3-48F3-9C6C-1519D583D8E0}"/>
                </a:ext>
              </a:extLst>
            </p:cNvPr>
            <p:cNvSpPr>
              <a:spLocks noEditPoints="1"/>
            </p:cNvSpPr>
            <p:nvPr userDrawn="1"/>
          </p:nvSpPr>
          <p:spPr bwMode="gray">
            <a:xfrm>
              <a:off x="10929938" y="487363"/>
              <a:ext cx="595313" cy="320675"/>
            </a:xfrm>
            <a:custGeom>
              <a:avLst/>
              <a:gdLst>
                <a:gd name="T0" fmla="*/ 3270 w 3471"/>
                <a:gd name="T1" fmla="*/ 1872 h 1872"/>
                <a:gd name="T2" fmla="*/ 3137 w 3471"/>
                <a:gd name="T3" fmla="*/ 1817 h 1872"/>
                <a:gd name="T4" fmla="*/ 2679 w 3471"/>
                <a:gd name="T5" fmla="*/ 1358 h 1872"/>
                <a:gd name="T6" fmla="*/ 2677 w 3471"/>
                <a:gd name="T7" fmla="*/ 1096 h 1872"/>
                <a:gd name="T8" fmla="*/ 2806 w 3471"/>
                <a:gd name="T9" fmla="*/ 1042 h 1872"/>
                <a:gd name="T10" fmla="*/ 2939 w 3471"/>
                <a:gd name="T11" fmla="*/ 1098 h 1872"/>
                <a:gd name="T12" fmla="*/ 3397 w 3471"/>
                <a:gd name="T13" fmla="*/ 1557 h 1872"/>
                <a:gd name="T14" fmla="*/ 3452 w 3471"/>
                <a:gd name="T15" fmla="*/ 1688 h 1872"/>
                <a:gd name="T16" fmla="*/ 3399 w 3471"/>
                <a:gd name="T17" fmla="*/ 1819 h 1872"/>
                <a:gd name="T18" fmla="*/ 3270 w 3471"/>
                <a:gd name="T19" fmla="*/ 1872 h 1872"/>
                <a:gd name="T20" fmla="*/ 3270 w 3471"/>
                <a:gd name="T21" fmla="*/ 1872 h 1872"/>
                <a:gd name="T22" fmla="*/ 1787 w 3471"/>
                <a:gd name="T23" fmla="*/ 1872 h 1872"/>
                <a:gd name="T24" fmla="*/ 1658 w 3471"/>
                <a:gd name="T25" fmla="*/ 1819 h 1872"/>
                <a:gd name="T26" fmla="*/ 1605 w 3471"/>
                <a:gd name="T27" fmla="*/ 1688 h 1872"/>
                <a:gd name="T28" fmla="*/ 1660 w 3471"/>
                <a:gd name="T29" fmla="*/ 1557 h 1872"/>
                <a:gd name="T30" fmla="*/ 2119 w 3471"/>
                <a:gd name="T31" fmla="*/ 1098 h 1872"/>
                <a:gd name="T32" fmla="*/ 2252 w 3471"/>
                <a:gd name="T33" fmla="*/ 1042 h 1872"/>
                <a:gd name="T34" fmla="*/ 2381 w 3471"/>
                <a:gd name="T35" fmla="*/ 1096 h 1872"/>
                <a:gd name="T36" fmla="*/ 2379 w 3471"/>
                <a:gd name="T37" fmla="*/ 1358 h 1872"/>
                <a:gd name="T38" fmla="*/ 1920 w 3471"/>
                <a:gd name="T39" fmla="*/ 1817 h 1872"/>
                <a:gd name="T40" fmla="*/ 1787 w 3471"/>
                <a:gd name="T41" fmla="*/ 1872 h 1872"/>
                <a:gd name="T42" fmla="*/ 1787 w 3471"/>
                <a:gd name="T43" fmla="*/ 1872 h 1872"/>
                <a:gd name="T44" fmla="*/ 196 w 3471"/>
                <a:gd name="T45" fmla="*/ 1857 h 1872"/>
                <a:gd name="T46" fmla="*/ 0 w 3471"/>
                <a:gd name="T47" fmla="*/ 1662 h 1872"/>
                <a:gd name="T48" fmla="*/ 0 w 3471"/>
                <a:gd name="T49" fmla="*/ 211 h 1872"/>
                <a:gd name="T50" fmla="*/ 196 w 3471"/>
                <a:gd name="T51" fmla="*/ 16 h 1872"/>
                <a:gd name="T52" fmla="*/ 1219 w 3471"/>
                <a:gd name="T53" fmla="*/ 16 h 1872"/>
                <a:gd name="T54" fmla="*/ 1390 w 3471"/>
                <a:gd name="T55" fmla="*/ 185 h 1872"/>
                <a:gd name="T56" fmla="*/ 1219 w 3471"/>
                <a:gd name="T57" fmla="*/ 354 h 1872"/>
                <a:gd name="T58" fmla="*/ 372 w 3471"/>
                <a:gd name="T59" fmla="*/ 354 h 1872"/>
                <a:gd name="T60" fmla="*/ 372 w 3471"/>
                <a:gd name="T61" fmla="*/ 1518 h 1872"/>
                <a:gd name="T62" fmla="*/ 1232 w 3471"/>
                <a:gd name="T63" fmla="*/ 1518 h 1872"/>
                <a:gd name="T64" fmla="*/ 1404 w 3471"/>
                <a:gd name="T65" fmla="*/ 1688 h 1872"/>
                <a:gd name="T66" fmla="*/ 1232 w 3471"/>
                <a:gd name="T67" fmla="*/ 1857 h 1872"/>
                <a:gd name="T68" fmla="*/ 196 w 3471"/>
                <a:gd name="T69" fmla="*/ 1857 h 1872"/>
                <a:gd name="T70" fmla="*/ 590 w 3471"/>
                <a:gd name="T71" fmla="*/ 1099 h 1872"/>
                <a:gd name="T72" fmla="*/ 590 w 3471"/>
                <a:gd name="T73" fmla="*/ 761 h 1872"/>
                <a:gd name="T74" fmla="*/ 1628 w 3471"/>
                <a:gd name="T75" fmla="*/ 761 h 1872"/>
                <a:gd name="T76" fmla="*/ 1800 w 3471"/>
                <a:gd name="T77" fmla="*/ 930 h 1872"/>
                <a:gd name="T78" fmla="*/ 1628 w 3471"/>
                <a:gd name="T79" fmla="*/ 1099 h 1872"/>
                <a:gd name="T80" fmla="*/ 590 w 3471"/>
                <a:gd name="T81" fmla="*/ 1099 h 1872"/>
                <a:gd name="T82" fmla="*/ 2806 w 3471"/>
                <a:gd name="T83" fmla="*/ 831 h 1872"/>
                <a:gd name="T84" fmla="*/ 2677 w 3471"/>
                <a:gd name="T85" fmla="*/ 777 h 1872"/>
                <a:gd name="T86" fmla="*/ 2679 w 3471"/>
                <a:gd name="T87" fmla="*/ 515 h 1872"/>
                <a:gd name="T88" fmla="*/ 3137 w 3471"/>
                <a:gd name="T89" fmla="*/ 56 h 1872"/>
                <a:gd name="T90" fmla="*/ 3270 w 3471"/>
                <a:gd name="T91" fmla="*/ 0 h 1872"/>
                <a:gd name="T92" fmla="*/ 3399 w 3471"/>
                <a:gd name="T93" fmla="*/ 54 h 1872"/>
                <a:gd name="T94" fmla="*/ 3397 w 3471"/>
                <a:gd name="T95" fmla="*/ 316 h 1872"/>
                <a:gd name="T96" fmla="*/ 2939 w 3471"/>
                <a:gd name="T97" fmla="*/ 775 h 1872"/>
                <a:gd name="T98" fmla="*/ 2806 w 3471"/>
                <a:gd name="T99" fmla="*/ 831 h 1872"/>
                <a:gd name="T100" fmla="*/ 2252 w 3471"/>
                <a:gd name="T101" fmla="*/ 831 h 1872"/>
                <a:gd name="T102" fmla="*/ 2119 w 3471"/>
                <a:gd name="T103" fmla="*/ 775 h 1872"/>
                <a:gd name="T104" fmla="*/ 1660 w 3471"/>
                <a:gd name="T105" fmla="*/ 316 h 1872"/>
                <a:gd name="T106" fmla="*/ 1658 w 3471"/>
                <a:gd name="T107" fmla="*/ 54 h 1872"/>
                <a:gd name="T108" fmla="*/ 1787 w 3471"/>
                <a:gd name="T109" fmla="*/ 0 h 1872"/>
                <a:gd name="T110" fmla="*/ 1920 w 3471"/>
                <a:gd name="T111" fmla="*/ 56 h 1872"/>
                <a:gd name="T112" fmla="*/ 2379 w 3471"/>
                <a:gd name="T113" fmla="*/ 515 h 1872"/>
                <a:gd name="T114" fmla="*/ 2381 w 3471"/>
                <a:gd name="T115" fmla="*/ 777 h 1872"/>
                <a:gd name="T116" fmla="*/ 2252 w 3471"/>
                <a:gd name="T117" fmla="*/ 831 h 1872"/>
                <a:gd name="T118" fmla="*/ 2252 w 3471"/>
                <a:gd name="T119" fmla="*/ 831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71" h="1872">
                  <a:moveTo>
                    <a:pt x="3270" y="1872"/>
                  </a:moveTo>
                  <a:cubicBezTo>
                    <a:pt x="3220" y="1872"/>
                    <a:pt x="3173" y="1853"/>
                    <a:pt x="3137" y="1817"/>
                  </a:cubicBezTo>
                  <a:lnTo>
                    <a:pt x="2679" y="1358"/>
                  </a:lnTo>
                  <a:cubicBezTo>
                    <a:pt x="2606" y="1285"/>
                    <a:pt x="2605" y="1167"/>
                    <a:pt x="2677" y="1096"/>
                  </a:cubicBezTo>
                  <a:cubicBezTo>
                    <a:pt x="2711" y="1061"/>
                    <a:pt x="2757" y="1042"/>
                    <a:pt x="2806" y="1042"/>
                  </a:cubicBezTo>
                  <a:cubicBezTo>
                    <a:pt x="2856" y="1042"/>
                    <a:pt x="2903" y="1062"/>
                    <a:pt x="2939" y="1098"/>
                  </a:cubicBezTo>
                  <a:lnTo>
                    <a:pt x="3397" y="1557"/>
                  </a:lnTo>
                  <a:cubicBezTo>
                    <a:pt x="3432" y="1592"/>
                    <a:pt x="3452" y="1639"/>
                    <a:pt x="3452" y="1688"/>
                  </a:cubicBezTo>
                  <a:cubicBezTo>
                    <a:pt x="3453" y="1738"/>
                    <a:pt x="3434" y="1784"/>
                    <a:pt x="3399" y="1819"/>
                  </a:cubicBezTo>
                  <a:cubicBezTo>
                    <a:pt x="3365" y="1854"/>
                    <a:pt x="3319" y="1872"/>
                    <a:pt x="3270" y="1872"/>
                  </a:cubicBezTo>
                  <a:lnTo>
                    <a:pt x="3270" y="1872"/>
                  </a:lnTo>
                  <a:close/>
                  <a:moveTo>
                    <a:pt x="1787" y="1872"/>
                  </a:moveTo>
                  <a:cubicBezTo>
                    <a:pt x="1739" y="1872"/>
                    <a:pt x="1693" y="1854"/>
                    <a:pt x="1658" y="1819"/>
                  </a:cubicBezTo>
                  <a:cubicBezTo>
                    <a:pt x="1624" y="1784"/>
                    <a:pt x="1605" y="1738"/>
                    <a:pt x="1605" y="1688"/>
                  </a:cubicBezTo>
                  <a:cubicBezTo>
                    <a:pt x="1605" y="1639"/>
                    <a:pt x="1625" y="1592"/>
                    <a:pt x="1660" y="1557"/>
                  </a:cubicBezTo>
                  <a:lnTo>
                    <a:pt x="2119" y="1098"/>
                  </a:lnTo>
                  <a:cubicBezTo>
                    <a:pt x="2154" y="1062"/>
                    <a:pt x="2202" y="1042"/>
                    <a:pt x="2252" y="1042"/>
                  </a:cubicBezTo>
                  <a:cubicBezTo>
                    <a:pt x="2300" y="1042"/>
                    <a:pt x="2346" y="1061"/>
                    <a:pt x="2381" y="1096"/>
                  </a:cubicBezTo>
                  <a:cubicBezTo>
                    <a:pt x="2452" y="1167"/>
                    <a:pt x="2451" y="1285"/>
                    <a:pt x="2379" y="1358"/>
                  </a:cubicBezTo>
                  <a:lnTo>
                    <a:pt x="1920" y="1817"/>
                  </a:lnTo>
                  <a:cubicBezTo>
                    <a:pt x="1885" y="1853"/>
                    <a:pt x="1837" y="1872"/>
                    <a:pt x="1787" y="1872"/>
                  </a:cubicBezTo>
                  <a:cubicBezTo>
                    <a:pt x="1787" y="1872"/>
                    <a:pt x="1787" y="1872"/>
                    <a:pt x="1787" y="1872"/>
                  </a:cubicBezTo>
                  <a:close/>
                  <a:moveTo>
                    <a:pt x="196" y="1857"/>
                  </a:moveTo>
                  <a:cubicBezTo>
                    <a:pt x="87" y="1857"/>
                    <a:pt x="0" y="1771"/>
                    <a:pt x="0" y="1662"/>
                  </a:cubicBezTo>
                  <a:lnTo>
                    <a:pt x="0" y="211"/>
                  </a:lnTo>
                  <a:cubicBezTo>
                    <a:pt x="0" y="102"/>
                    <a:pt x="87" y="16"/>
                    <a:pt x="196" y="16"/>
                  </a:cubicBezTo>
                  <a:lnTo>
                    <a:pt x="1219" y="16"/>
                  </a:lnTo>
                  <a:cubicBezTo>
                    <a:pt x="1313" y="16"/>
                    <a:pt x="1390" y="92"/>
                    <a:pt x="1390" y="185"/>
                  </a:cubicBezTo>
                  <a:cubicBezTo>
                    <a:pt x="1390" y="278"/>
                    <a:pt x="1313" y="354"/>
                    <a:pt x="1219" y="354"/>
                  </a:cubicBezTo>
                  <a:lnTo>
                    <a:pt x="372" y="354"/>
                  </a:lnTo>
                  <a:lnTo>
                    <a:pt x="372" y="1518"/>
                  </a:lnTo>
                  <a:lnTo>
                    <a:pt x="1232" y="1518"/>
                  </a:lnTo>
                  <a:cubicBezTo>
                    <a:pt x="1327" y="1518"/>
                    <a:pt x="1404" y="1594"/>
                    <a:pt x="1404" y="1688"/>
                  </a:cubicBezTo>
                  <a:cubicBezTo>
                    <a:pt x="1404" y="1781"/>
                    <a:pt x="1327" y="1857"/>
                    <a:pt x="1232" y="1857"/>
                  </a:cubicBezTo>
                  <a:lnTo>
                    <a:pt x="196" y="1857"/>
                  </a:lnTo>
                  <a:close/>
                  <a:moveTo>
                    <a:pt x="590" y="1099"/>
                  </a:moveTo>
                  <a:lnTo>
                    <a:pt x="590" y="761"/>
                  </a:lnTo>
                  <a:lnTo>
                    <a:pt x="1628" y="761"/>
                  </a:lnTo>
                  <a:cubicBezTo>
                    <a:pt x="1723" y="761"/>
                    <a:pt x="1800" y="837"/>
                    <a:pt x="1800" y="930"/>
                  </a:cubicBezTo>
                  <a:cubicBezTo>
                    <a:pt x="1800" y="1023"/>
                    <a:pt x="1723" y="1099"/>
                    <a:pt x="1628" y="1099"/>
                  </a:cubicBezTo>
                  <a:lnTo>
                    <a:pt x="590" y="1099"/>
                  </a:lnTo>
                  <a:close/>
                  <a:moveTo>
                    <a:pt x="2806" y="831"/>
                  </a:moveTo>
                  <a:cubicBezTo>
                    <a:pt x="2757" y="831"/>
                    <a:pt x="2711" y="812"/>
                    <a:pt x="2677" y="777"/>
                  </a:cubicBezTo>
                  <a:cubicBezTo>
                    <a:pt x="2605" y="706"/>
                    <a:pt x="2606" y="588"/>
                    <a:pt x="2679" y="515"/>
                  </a:cubicBezTo>
                  <a:lnTo>
                    <a:pt x="3137" y="56"/>
                  </a:lnTo>
                  <a:cubicBezTo>
                    <a:pt x="3173" y="20"/>
                    <a:pt x="3220" y="0"/>
                    <a:pt x="3270" y="0"/>
                  </a:cubicBezTo>
                  <a:cubicBezTo>
                    <a:pt x="3319" y="0"/>
                    <a:pt x="3365" y="19"/>
                    <a:pt x="3399" y="54"/>
                  </a:cubicBezTo>
                  <a:cubicBezTo>
                    <a:pt x="3471" y="126"/>
                    <a:pt x="3470" y="243"/>
                    <a:pt x="3397" y="316"/>
                  </a:cubicBezTo>
                  <a:lnTo>
                    <a:pt x="2939" y="775"/>
                  </a:lnTo>
                  <a:cubicBezTo>
                    <a:pt x="2903" y="811"/>
                    <a:pt x="2856" y="831"/>
                    <a:pt x="2806" y="831"/>
                  </a:cubicBezTo>
                  <a:close/>
                  <a:moveTo>
                    <a:pt x="2252" y="831"/>
                  </a:moveTo>
                  <a:cubicBezTo>
                    <a:pt x="2202" y="831"/>
                    <a:pt x="2154" y="811"/>
                    <a:pt x="2119" y="775"/>
                  </a:cubicBezTo>
                  <a:lnTo>
                    <a:pt x="1660" y="316"/>
                  </a:lnTo>
                  <a:cubicBezTo>
                    <a:pt x="1588" y="243"/>
                    <a:pt x="1587" y="126"/>
                    <a:pt x="1658" y="54"/>
                  </a:cubicBezTo>
                  <a:cubicBezTo>
                    <a:pt x="1693" y="19"/>
                    <a:pt x="1739" y="0"/>
                    <a:pt x="1787" y="0"/>
                  </a:cubicBezTo>
                  <a:cubicBezTo>
                    <a:pt x="1837" y="0"/>
                    <a:pt x="1885" y="20"/>
                    <a:pt x="1920" y="56"/>
                  </a:cubicBezTo>
                  <a:lnTo>
                    <a:pt x="2379" y="515"/>
                  </a:lnTo>
                  <a:cubicBezTo>
                    <a:pt x="2451" y="588"/>
                    <a:pt x="2452" y="706"/>
                    <a:pt x="2381" y="777"/>
                  </a:cubicBezTo>
                  <a:cubicBezTo>
                    <a:pt x="2346" y="812"/>
                    <a:pt x="2300" y="831"/>
                    <a:pt x="2252" y="831"/>
                  </a:cubicBezTo>
                  <a:lnTo>
                    <a:pt x="2252" y="83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US" dirty="0"/>
            </a:p>
          </p:txBody>
        </p:sp>
      </p:grpSp>
    </p:spTree>
    <p:extLst>
      <p:ext uri="{BB962C8B-B14F-4D97-AF65-F5344CB8AC3E}">
        <p14:creationId xmlns:p14="http://schemas.microsoft.com/office/powerpoint/2010/main" val="2545484395"/>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Closing | Blue 2">
    <p:bg bwMode="auto">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p:custDataLst>
              <p:tags r:id="rId2"/>
            </p:custDataLst>
            <p:extLst>
              <p:ext uri="{D42A27DB-BD31-4B8C-83A1-F6EECF244321}">
                <p14:modId xmlns:p14="http://schemas.microsoft.com/office/powerpoint/2010/main" val="464106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29" name="think-cell Folie" r:id="rId5" imgW="286" imgH="286" progId="TCLayout.ActiveDocument.1">
                  <p:embed/>
                </p:oleObj>
              </mc:Choice>
              <mc:Fallback>
                <p:oleObj name="think-cell Foli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US" sz="3000" b="1" i="0" baseline="0"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vert="horz" anchor="t" anchorCtr="0"/>
          <a:lstStyle>
            <a:lvl1pPr algn="l" rtl="0">
              <a:lnSpc>
                <a:spcPct val="100000"/>
              </a:lnSpc>
              <a:spcBef>
                <a:spcPts val="0"/>
              </a:spcBef>
              <a:defRPr sz="4300" b="1">
                <a:solidFill>
                  <a:schemeClr val="bg1"/>
                </a:solidFill>
              </a:defRPr>
            </a:lvl1pPr>
          </a:lstStyle>
          <a:p>
            <a:r>
              <a:rPr lang="en-US" noProof="0" dirty="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rtl="0">
              <a:lnSpc>
                <a:spcPct val="110000"/>
              </a:lnSpc>
              <a:spcBef>
                <a:spcPts val="0"/>
              </a:spcBef>
              <a:spcAft>
                <a:spcPts val="0"/>
              </a:spcAft>
              <a:buNone/>
              <a:defRPr sz="1400">
                <a:solidFill>
                  <a:schemeClr val="bg1"/>
                </a:solidFill>
                <a:latin typeface="+mn-lt"/>
                <a:cs typeface="Abadi MT Condensed Extra Bold"/>
              </a:defRPr>
            </a:lvl1pPr>
            <a:lvl2pPr marL="0" indent="0" algn="l">
              <a:lnSpc>
                <a:spcPct val="110000"/>
              </a:lnSpc>
              <a:spcAft>
                <a:spcPts val="0"/>
              </a:spcAft>
              <a:buNone/>
              <a:defRPr sz="1400">
                <a:solidFill>
                  <a:schemeClr val="bg1"/>
                </a:solidFill>
              </a:defRPr>
            </a:lvl2pPr>
            <a:lvl3pPr marL="0" indent="0" algn="l">
              <a:lnSpc>
                <a:spcPct val="110000"/>
              </a:lnSpc>
              <a:spcAft>
                <a:spcPts val="0"/>
              </a:spcAft>
              <a:buNone/>
              <a:defRPr sz="1400">
                <a:solidFill>
                  <a:schemeClr val="bg1"/>
                </a:solidFill>
              </a:defRPr>
            </a:lvl3pPr>
            <a:lvl4pPr marL="0" indent="0" algn="l">
              <a:lnSpc>
                <a:spcPct val="110000"/>
              </a:lnSpc>
              <a:spcAft>
                <a:spcPts val="0"/>
              </a:spcAft>
              <a:buNone/>
              <a:defRPr sz="1400">
                <a:solidFill>
                  <a:schemeClr val="bg1"/>
                </a:solidFill>
              </a:defRPr>
            </a:lvl4pPr>
            <a:lvl5pPr marL="0" indent="0" algn="l">
              <a:lnSpc>
                <a:spcPct val="110000"/>
              </a:lnSpc>
              <a:spcAft>
                <a:spcPts val="0"/>
              </a:spcAft>
              <a:buNone/>
              <a:defRPr sz="1400">
                <a:solidFill>
                  <a:schemeClr val="bg1"/>
                </a:solidFill>
              </a:defRPr>
            </a:lvl5pPr>
            <a:lvl6pPr marL="0" indent="0" algn="l">
              <a:lnSpc>
                <a:spcPct val="110000"/>
              </a:lnSpc>
              <a:spcAft>
                <a:spcPts val="0"/>
              </a:spcAft>
              <a:buNone/>
              <a:defRPr sz="1400">
                <a:solidFill>
                  <a:schemeClr val="bg1"/>
                </a:solidFill>
              </a:defRPr>
            </a:lvl6pPr>
            <a:lvl7pPr marL="0" indent="0" algn="l">
              <a:lnSpc>
                <a:spcPct val="110000"/>
              </a:lnSpc>
              <a:spcAft>
                <a:spcPts val="0"/>
              </a:spcAft>
              <a:buNone/>
              <a:defRPr sz="1400">
                <a:solidFill>
                  <a:schemeClr val="bg1"/>
                </a:solidFill>
              </a:defRPr>
            </a:lvl7pPr>
            <a:lvl8pPr marL="0" indent="0" algn="l">
              <a:lnSpc>
                <a:spcPct val="110000"/>
              </a:lnSpc>
              <a:spcAft>
                <a:spcPts val="0"/>
              </a:spcAft>
              <a:buNone/>
              <a:defRPr sz="1400">
                <a:solidFill>
                  <a:schemeClr val="bg1"/>
                </a:solidFill>
              </a:defRPr>
            </a:lvl8pPr>
            <a:lvl9pPr marL="0" indent="0" algn="l">
              <a:lnSpc>
                <a:spcPct val="110000"/>
              </a:lnSpc>
              <a:spcAft>
                <a:spcPts val="0"/>
              </a:spcAft>
              <a:buNone/>
              <a:defRPr sz="1400">
                <a:solidFill>
                  <a:schemeClr val="bg1"/>
                </a:solidFill>
              </a:defRPr>
            </a:lvl9pPr>
          </a:lstStyle>
          <a:p>
            <a:r>
              <a:rPr lang="en-US" noProof="0" dirty="0"/>
              <a:t>Insert Contact Data</a:t>
            </a:r>
          </a:p>
          <a:p>
            <a:endParaRPr lang="en-US" noProof="0" dirty="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bwMode="gray">
          <a:xfrm>
            <a:off x="604973" y="476936"/>
            <a:ext cx="3630623" cy="329870"/>
          </a:xfrm>
          <a:prstGeom prst="rect">
            <a:avLst/>
          </a:prstGeom>
        </p:spPr>
      </p:pic>
      <p:sp>
        <p:nvSpPr>
          <p:cNvPr id="15" name="Rechteck 14">
            <a:extLst>
              <a:ext uri="{FF2B5EF4-FFF2-40B4-BE49-F238E27FC236}">
                <a16:creationId xmlns:a16="http://schemas.microsoft.com/office/drawing/2014/main" id="{4EB0CB7E-9718-4DF4-BB58-8D22CBEA24FC}"/>
              </a:ext>
            </a:extLst>
          </p:cNvPr>
          <p:cNvSpPr/>
          <p:nvPr/>
        </p:nvSpPr>
        <p:spPr bwMode="gray">
          <a:xfrm>
            <a:off x="1566654" y="6286127"/>
            <a:ext cx="1019831" cy="295337"/>
          </a:xfrm>
          <a:prstGeom prst="rect">
            <a:avLst/>
          </a:prstGeom>
        </p:spPr>
        <p:txBody>
          <a:bodyPr wrap="none">
            <a:spAutoFit/>
          </a:bodyPr>
          <a:lstStyle/>
          <a:p>
            <a:pPr rtl="0">
              <a:lnSpc>
                <a:spcPct val="110000"/>
              </a:lnSpc>
            </a:pPr>
            <a:r>
              <a:rPr lang="en-US" sz="1300" b="1" noProof="0" dirty="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p:nvGrpSpPr>
        <p:grpSpPr bwMode="gray">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gray">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bwMode="gray">
            <a:xfrm>
              <a:off x="3483366" y="5826891"/>
              <a:ext cx="389641" cy="389641"/>
            </a:xfrm>
            <a:prstGeom prst="rect">
              <a:avLst/>
            </a:prstGeom>
          </p:spPr>
        </p:pic>
      </p:grpSp>
      <p:grpSp>
        <p:nvGrpSpPr>
          <p:cNvPr id="20" name="Gruppieren 19">
            <a:extLst>
              <a:ext uri="{FF2B5EF4-FFF2-40B4-BE49-F238E27FC236}">
                <a16:creationId xmlns:a16="http://schemas.microsoft.com/office/drawing/2014/main" id="{6769E7C5-C0E1-48CD-9388-6F2008D55272}"/>
              </a:ext>
            </a:extLst>
          </p:cNvPr>
          <p:cNvGrpSpPr>
            <a:grpSpLocks noChangeAspect="1"/>
          </p:cNvGrpSpPr>
          <p:nvPr/>
        </p:nvGrpSpPr>
        <p:grpSpPr bwMode="gray">
          <a:xfrm>
            <a:off x="9334500" y="3238500"/>
            <a:ext cx="2857500" cy="3619500"/>
            <a:chOff x="3611724" y="1974857"/>
            <a:chExt cx="2857500" cy="3619500"/>
          </a:xfrm>
        </p:grpSpPr>
        <p:sp>
          <p:nvSpPr>
            <p:cNvPr id="21" name="Freihandform: Form 20">
              <a:extLst>
                <a:ext uri="{FF2B5EF4-FFF2-40B4-BE49-F238E27FC236}">
                  <a16:creationId xmlns:a16="http://schemas.microsoft.com/office/drawing/2014/main" id="{7304EB86-5EEA-438D-B39C-697E03DEBDAC}"/>
                </a:ext>
              </a:extLst>
            </p:cNvPr>
            <p:cNvSpPr/>
            <p:nvPr/>
          </p:nvSpPr>
          <p:spPr bwMode="gray">
            <a:xfrm>
              <a:off x="3611724" y="3879857"/>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pPr rtl="0"/>
              <a:endParaRPr lang="en-US" noProof="0" dirty="0"/>
            </a:p>
          </p:txBody>
        </p:sp>
        <p:sp>
          <p:nvSpPr>
            <p:cNvPr id="22" name="Freihandform: Form 21">
              <a:extLst>
                <a:ext uri="{FF2B5EF4-FFF2-40B4-BE49-F238E27FC236}">
                  <a16:creationId xmlns:a16="http://schemas.microsoft.com/office/drawing/2014/main" id="{38F723E8-3D83-4C80-8A6C-D974206A31D6}"/>
                </a:ext>
              </a:extLst>
            </p:cNvPr>
            <p:cNvSpPr/>
            <p:nvPr/>
          </p:nvSpPr>
          <p:spPr bwMode="gray">
            <a:xfrm>
              <a:off x="4564224" y="3879857"/>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FFFFFF"/>
            </a:solidFill>
            <a:ln w="9525" cap="flat">
              <a:noFill/>
              <a:prstDash val="solid"/>
              <a:miter/>
            </a:ln>
          </p:spPr>
          <p:txBody>
            <a:bodyPr rtlCol="0" anchor="ctr"/>
            <a:lstStyle/>
            <a:p>
              <a:pPr rtl="0"/>
              <a:endParaRPr lang="en-US" noProof="0" dirty="0"/>
            </a:p>
          </p:txBody>
        </p:sp>
        <p:sp>
          <p:nvSpPr>
            <p:cNvPr id="25" name="Freihandform: Form 24">
              <a:extLst>
                <a:ext uri="{FF2B5EF4-FFF2-40B4-BE49-F238E27FC236}">
                  <a16:creationId xmlns:a16="http://schemas.microsoft.com/office/drawing/2014/main" id="{1F888C89-D455-4F08-8365-D54C352BAABE}"/>
                </a:ext>
              </a:extLst>
            </p:cNvPr>
            <p:cNvSpPr/>
            <p:nvPr/>
          </p:nvSpPr>
          <p:spPr bwMode="gray">
            <a:xfrm>
              <a:off x="5516724" y="2927357"/>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50000">
                  <a:srgbClr val="00CE7D"/>
                </a:gs>
                <a:gs pos="90000">
                  <a:srgbClr val="201751"/>
                </a:gs>
              </a:gsLst>
              <a:lin ang="5400000" scaled="1"/>
            </a:gradFill>
            <a:ln w="9525" cap="flat">
              <a:noFill/>
              <a:prstDash val="solid"/>
              <a:miter/>
            </a:ln>
          </p:spPr>
          <p:txBody>
            <a:bodyPr rtlCol="0" anchor="ctr"/>
            <a:lstStyle/>
            <a:p>
              <a:pPr rtl="0"/>
              <a:endParaRPr lang="en-US" noProof="0" dirty="0"/>
            </a:p>
          </p:txBody>
        </p:sp>
        <p:sp>
          <p:nvSpPr>
            <p:cNvPr id="30" name="Freihandform: Form 29">
              <a:extLst>
                <a:ext uri="{FF2B5EF4-FFF2-40B4-BE49-F238E27FC236}">
                  <a16:creationId xmlns:a16="http://schemas.microsoft.com/office/drawing/2014/main" id="{C460A32E-0B9F-44B5-B953-61598373A976}"/>
                </a:ext>
              </a:extLst>
            </p:cNvPr>
            <p:cNvSpPr/>
            <p:nvPr/>
          </p:nvSpPr>
          <p:spPr bwMode="gray">
            <a:xfrm>
              <a:off x="3611724" y="1974857"/>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00CE7D"/>
                </a:gs>
                <a:gs pos="80000">
                  <a:srgbClr val="201751"/>
                </a:gs>
              </a:gsLst>
              <a:lin ang="5400000" scaled="1"/>
            </a:gradFill>
            <a:ln w="9525" cap="flat">
              <a:noFill/>
              <a:prstDash val="solid"/>
              <a:miter/>
            </a:ln>
          </p:spPr>
          <p:txBody>
            <a:bodyPr rtlCol="0" anchor="ctr"/>
            <a:lstStyle/>
            <a:p>
              <a:pPr rtl="0"/>
              <a:endParaRPr lang="en-US" noProof="0" dirty="0"/>
            </a:p>
          </p:txBody>
        </p:sp>
      </p:grpSp>
      <p:grpSp>
        <p:nvGrpSpPr>
          <p:cNvPr id="23" name="Gruppieren 22">
            <a:extLst>
              <a:ext uri="{FF2B5EF4-FFF2-40B4-BE49-F238E27FC236}">
                <a16:creationId xmlns:a16="http://schemas.microsoft.com/office/drawing/2014/main" id="{6C95B4A1-F838-4739-BA62-FB12C408E95D}"/>
              </a:ext>
            </a:extLst>
          </p:cNvPr>
          <p:cNvGrpSpPr/>
          <p:nvPr/>
        </p:nvGrpSpPr>
        <p:grpSpPr bwMode="gray">
          <a:xfrm>
            <a:off x="10804526" y="1"/>
            <a:ext cx="809625" cy="1135063"/>
            <a:chOff x="10804526" y="1"/>
            <a:chExt cx="809625" cy="1135063"/>
          </a:xfrm>
        </p:grpSpPr>
        <p:sp>
          <p:nvSpPr>
            <p:cNvPr id="24" name="Freihandform: Form 23">
              <a:extLst>
                <a:ext uri="{FF2B5EF4-FFF2-40B4-BE49-F238E27FC236}">
                  <a16:creationId xmlns:a16="http://schemas.microsoft.com/office/drawing/2014/main" id="{9ABA97B1-D598-4B8C-8FF3-BB40349CC4DC}"/>
                </a:ext>
              </a:extLst>
            </p:cNvPr>
            <p:cNvSpPr/>
            <p:nvPr userDrawn="1"/>
          </p:nvSpPr>
          <p:spPr bwMode="gray">
            <a:xfrm>
              <a:off x="10804526" y="1"/>
              <a:ext cx="809625" cy="1135063"/>
            </a:xfrm>
            <a:custGeom>
              <a:avLst/>
              <a:gdLst>
                <a:gd name="connsiteX0" fmla="*/ 0 w 809625"/>
                <a:gd name="connsiteY0" fmla="*/ 0 h 1135063"/>
                <a:gd name="connsiteX1" fmla="*/ 809625 w 809625"/>
                <a:gd name="connsiteY1" fmla="*/ 0 h 1135063"/>
                <a:gd name="connsiteX2" fmla="*/ 809625 w 809625"/>
                <a:gd name="connsiteY2" fmla="*/ 730422 h 1135063"/>
                <a:gd name="connsiteX3" fmla="*/ 404813 w 809625"/>
                <a:gd name="connsiteY3" fmla="*/ 1135063 h 1135063"/>
                <a:gd name="connsiteX4" fmla="*/ 0 w 809625"/>
                <a:gd name="connsiteY4" fmla="*/ 730422 h 1135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1135063">
                  <a:moveTo>
                    <a:pt x="0" y="0"/>
                  </a:moveTo>
                  <a:lnTo>
                    <a:pt x="809625" y="0"/>
                  </a:lnTo>
                  <a:lnTo>
                    <a:pt x="809625" y="730422"/>
                  </a:lnTo>
                  <a:cubicBezTo>
                    <a:pt x="809625" y="953908"/>
                    <a:pt x="628489" y="1135063"/>
                    <a:pt x="404813" y="1135063"/>
                  </a:cubicBezTo>
                  <a:cubicBezTo>
                    <a:pt x="181308" y="1135063"/>
                    <a:pt x="0" y="953908"/>
                    <a:pt x="0" y="730422"/>
                  </a:cubicBezTo>
                  <a:close/>
                </a:path>
              </a:pathLst>
            </a:custGeom>
            <a:solidFill>
              <a:srgbClr val="00CE7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bIns="79200" rtlCol="0" anchor="ctr">
              <a:noAutofit/>
            </a:bodyPr>
            <a:lstStyle/>
            <a:p>
              <a:pPr algn="ctr" rtl="0"/>
              <a:endParaRPr lang="en-US" sz="1400" dirty="0"/>
            </a:p>
          </p:txBody>
        </p:sp>
        <p:sp>
          <p:nvSpPr>
            <p:cNvPr id="26" name="Freeform 17">
              <a:extLst>
                <a:ext uri="{FF2B5EF4-FFF2-40B4-BE49-F238E27FC236}">
                  <a16:creationId xmlns:a16="http://schemas.microsoft.com/office/drawing/2014/main" id="{C0B8390D-03A9-4F16-B9D4-A4DFD5B57402}"/>
                </a:ext>
              </a:extLst>
            </p:cNvPr>
            <p:cNvSpPr>
              <a:spLocks noEditPoints="1"/>
            </p:cNvSpPr>
            <p:nvPr userDrawn="1"/>
          </p:nvSpPr>
          <p:spPr bwMode="gray">
            <a:xfrm>
              <a:off x="10929938" y="487363"/>
              <a:ext cx="595313" cy="320675"/>
            </a:xfrm>
            <a:custGeom>
              <a:avLst/>
              <a:gdLst>
                <a:gd name="T0" fmla="*/ 3270 w 3471"/>
                <a:gd name="T1" fmla="*/ 1872 h 1872"/>
                <a:gd name="T2" fmla="*/ 3137 w 3471"/>
                <a:gd name="T3" fmla="*/ 1817 h 1872"/>
                <a:gd name="T4" fmla="*/ 2679 w 3471"/>
                <a:gd name="T5" fmla="*/ 1358 h 1872"/>
                <a:gd name="T6" fmla="*/ 2677 w 3471"/>
                <a:gd name="T7" fmla="*/ 1096 h 1872"/>
                <a:gd name="T8" fmla="*/ 2806 w 3471"/>
                <a:gd name="T9" fmla="*/ 1042 h 1872"/>
                <a:gd name="T10" fmla="*/ 2939 w 3471"/>
                <a:gd name="T11" fmla="*/ 1098 h 1872"/>
                <a:gd name="T12" fmla="*/ 3397 w 3471"/>
                <a:gd name="T13" fmla="*/ 1557 h 1872"/>
                <a:gd name="T14" fmla="*/ 3452 w 3471"/>
                <a:gd name="T15" fmla="*/ 1688 h 1872"/>
                <a:gd name="T16" fmla="*/ 3399 w 3471"/>
                <a:gd name="T17" fmla="*/ 1819 h 1872"/>
                <a:gd name="T18" fmla="*/ 3270 w 3471"/>
                <a:gd name="T19" fmla="*/ 1872 h 1872"/>
                <a:gd name="T20" fmla="*/ 3270 w 3471"/>
                <a:gd name="T21" fmla="*/ 1872 h 1872"/>
                <a:gd name="T22" fmla="*/ 1787 w 3471"/>
                <a:gd name="T23" fmla="*/ 1872 h 1872"/>
                <a:gd name="T24" fmla="*/ 1658 w 3471"/>
                <a:gd name="T25" fmla="*/ 1819 h 1872"/>
                <a:gd name="T26" fmla="*/ 1605 w 3471"/>
                <a:gd name="T27" fmla="*/ 1688 h 1872"/>
                <a:gd name="T28" fmla="*/ 1660 w 3471"/>
                <a:gd name="T29" fmla="*/ 1557 h 1872"/>
                <a:gd name="T30" fmla="*/ 2119 w 3471"/>
                <a:gd name="T31" fmla="*/ 1098 h 1872"/>
                <a:gd name="T32" fmla="*/ 2252 w 3471"/>
                <a:gd name="T33" fmla="*/ 1042 h 1872"/>
                <a:gd name="T34" fmla="*/ 2381 w 3471"/>
                <a:gd name="T35" fmla="*/ 1096 h 1872"/>
                <a:gd name="T36" fmla="*/ 2379 w 3471"/>
                <a:gd name="T37" fmla="*/ 1358 h 1872"/>
                <a:gd name="T38" fmla="*/ 1920 w 3471"/>
                <a:gd name="T39" fmla="*/ 1817 h 1872"/>
                <a:gd name="T40" fmla="*/ 1787 w 3471"/>
                <a:gd name="T41" fmla="*/ 1872 h 1872"/>
                <a:gd name="T42" fmla="*/ 1787 w 3471"/>
                <a:gd name="T43" fmla="*/ 1872 h 1872"/>
                <a:gd name="T44" fmla="*/ 196 w 3471"/>
                <a:gd name="T45" fmla="*/ 1857 h 1872"/>
                <a:gd name="T46" fmla="*/ 0 w 3471"/>
                <a:gd name="T47" fmla="*/ 1662 h 1872"/>
                <a:gd name="T48" fmla="*/ 0 w 3471"/>
                <a:gd name="T49" fmla="*/ 211 h 1872"/>
                <a:gd name="T50" fmla="*/ 196 w 3471"/>
                <a:gd name="T51" fmla="*/ 16 h 1872"/>
                <a:gd name="T52" fmla="*/ 1219 w 3471"/>
                <a:gd name="T53" fmla="*/ 16 h 1872"/>
                <a:gd name="T54" fmla="*/ 1390 w 3471"/>
                <a:gd name="T55" fmla="*/ 185 h 1872"/>
                <a:gd name="T56" fmla="*/ 1219 w 3471"/>
                <a:gd name="T57" fmla="*/ 354 h 1872"/>
                <a:gd name="T58" fmla="*/ 372 w 3471"/>
                <a:gd name="T59" fmla="*/ 354 h 1872"/>
                <a:gd name="T60" fmla="*/ 372 w 3471"/>
                <a:gd name="T61" fmla="*/ 1518 h 1872"/>
                <a:gd name="T62" fmla="*/ 1232 w 3471"/>
                <a:gd name="T63" fmla="*/ 1518 h 1872"/>
                <a:gd name="T64" fmla="*/ 1404 w 3471"/>
                <a:gd name="T65" fmla="*/ 1688 h 1872"/>
                <a:gd name="T66" fmla="*/ 1232 w 3471"/>
                <a:gd name="T67" fmla="*/ 1857 h 1872"/>
                <a:gd name="T68" fmla="*/ 196 w 3471"/>
                <a:gd name="T69" fmla="*/ 1857 h 1872"/>
                <a:gd name="T70" fmla="*/ 590 w 3471"/>
                <a:gd name="T71" fmla="*/ 1099 h 1872"/>
                <a:gd name="T72" fmla="*/ 590 w 3471"/>
                <a:gd name="T73" fmla="*/ 761 h 1872"/>
                <a:gd name="T74" fmla="*/ 1628 w 3471"/>
                <a:gd name="T75" fmla="*/ 761 h 1872"/>
                <a:gd name="T76" fmla="*/ 1800 w 3471"/>
                <a:gd name="T77" fmla="*/ 930 h 1872"/>
                <a:gd name="T78" fmla="*/ 1628 w 3471"/>
                <a:gd name="T79" fmla="*/ 1099 h 1872"/>
                <a:gd name="T80" fmla="*/ 590 w 3471"/>
                <a:gd name="T81" fmla="*/ 1099 h 1872"/>
                <a:gd name="T82" fmla="*/ 2806 w 3471"/>
                <a:gd name="T83" fmla="*/ 831 h 1872"/>
                <a:gd name="T84" fmla="*/ 2677 w 3471"/>
                <a:gd name="T85" fmla="*/ 777 h 1872"/>
                <a:gd name="T86" fmla="*/ 2679 w 3471"/>
                <a:gd name="T87" fmla="*/ 515 h 1872"/>
                <a:gd name="T88" fmla="*/ 3137 w 3471"/>
                <a:gd name="T89" fmla="*/ 56 h 1872"/>
                <a:gd name="T90" fmla="*/ 3270 w 3471"/>
                <a:gd name="T91" fmla="*/ 0 h 1872"/>
                <a:gd name="T92" fmla="*/ 3399 w 3471"/>
                <a:gd name="T93" fmla="*/ 54 h 1872"/>
                <a:gd name="T94" fmla="*/ 3397 w 3471"/>
                <a:gd name="T95" fmla="*/ 316 h 1872"/>
                <a:gd name="T96" fmla="*/ 2939 w 3471"/>
                <a:gd name="T97" fmla="*/ 775 h 1872"/>
                <a:gd name="T98" fmla="*/ 2806 w 3471"/>
                <a:gd name="T99" fmla="*/ 831 h 1872"/>
                <a:gd name="T100" fmla="*/ 2252 w 3471"/>
                <a:gd name="T101" fmla="*/ 831 h 1872"/>
                <a:gd name="T102" fmla="*/ 2119 w 3471"/>
                <a:gd name="T103" fmla="*/ 775 h 1872"/>
                <a:gd name="T104" fmla="*/ 1660 w 3471"/>
                <a:gd name="T105" fmla="*/ 316 h 1872"/>
                <a:gd name="T106" fmla="*/ 1658 w 3471"/>
                <a:gd name="T107" fmla="*/ 54 h 1872"/>
                <a:gd name="T108" fmla="*/ 1787 w 3471"/>
                <a:gd name="T109" fmla="*/ 0 h 1872"/>
                <a:gd name="T110" fmla="*/ 1920 w 3471"/>
                <a:gd name="T111" fmla="*/ 56 h 1872"/>
                <a:gd name="T112" fmla="*/ 2379 w 3471"/>
                <a:gd name="T113" fmla="*/ 515 h 1872"/>
                <a:gd name="T114" fmla="*/ 2381 w 3471"/>
                <a:gd name="T115" fmla="*/ 777 h 1872"/>
                <a:gd name="T116" fmla="*/ 2252 w 3471"/>
                <a:gd name="T117" fmla="*/ 831 h 1872"/>
                <a:gd name="T118" fmla="*/ 2252 w 3471"/>
                <a:gd name="T119" fmla="*/ 831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71" h="1872">
                  <a:moveTo>
                    <a:pt x="3270" y="1872"/>
                  </a:moveTo>
                  <a:cubicBezTo>
                    <a:pt x="3220" y="1872"/>
                    <a:pt x="3173" y="1853"/>
                    <a:pt x="3137" y="1817"/>
                  </a:cubicBezTo>
                  <a:lnTo>
                    <a:pt x="2679" y="1358"/>
                  </a:lnTo>
                  <a:cubicBezTo>
                    <a:pt x="2606" y="1285"/>
                    <a:pt x="2605" y="1167"/>
                    <a:pt x="2677" y="1096"/>
                  </a:cubicBezTo>
                  <a:cubicBezTo>
                    <a:pt x="2711" y="1061"/>
                    <a:pt x="2757" y="1042"/>
                    <a:pt x="2806" y="1042"/>
                  </a:cubicBezTo>
                  <a:cubicBezTo>
                    <a:pt x="2856" y="1042"/>
                    <a:pt x="2903" y="1062"/>
                    <a:pt x="2939" y="1098"/>
                  </a:cubicBezTo>
                  <a:lnTo>
                    <a:pt x="3397" y="1557"/>
                  </a:lnTo>
                  <a:cubicBezTo>
                    <a:pt x="3432" y="1592"/>
                    <a:pt x="3452" y="1639"/>
                    <a:pt x="3452" y="1688"/>
                  </a:cubicBezTo>
                  <a:cubicBezTo>
                    <a:pt x="3453" y="1738"/>
                    <a:pt x="3434" y="1784"/>
                    <a:pt x="3399" y="1819"/>
                  </a:cubicBezTo>
                  <a:cubicBezTo>
                    <a:pt x="3365" y="1854"/>
                    <a:pt x="3319" y="1872"/>
                    <a:pt x="3270" y="1872"/>
                  </a:cubicBezTo>
                  <a:lnTo>
                    <a:pt x="3270" y="1872"/>
                  </a:lnTo>
                  <a:close/>
                  <a:moveTo>
                    <a:pt x="1787" y="1872"/>
                  </a:moveTo>
                  <a:cubicBezTo>
                    <a:pt x="1739" y="1872"/>
                    <a:pt x="1693" y="1854"/>
                    <a:pt x="1658" y="1819"/>
                  </a:cubicBezTo>
                  <a:cubicBezTo>
                    <a:pt x="1624" y="1784"/>
                    <a:pt x="1605" y="1738"/>
                    <a:pt x="1605" y="1688"/>
                  </a:cubicBezTo>
                  <a:cubicBezTo>
                    <a:pt x="1605" y="1639"/>
                    <a:pt x="1625" y="1592"/>
                    <a:pt x="1660" y="1557"/>
                  </a:cubicBezTo>
                  <a:lnTo>
                    <a:pt x="2119" y="1098"/>
                  </a:lnTo>
                  <a:cubicBezTo>
                    <a:pt x="2154" y="1062"/>
                    <a:pt x="2202" y="1042"/>
                    <a:pt x="2252" y="1042"/>
                  </a:cubicBezTo>
                  <a:cubicBezTo>
                    <a:pt x="2300" y="1042"/>
                    <a:pt x="2346" y="1061"/>
                    <a:pt x="2381" y="1096"/>
                  </a:cubicBezTo>
                  <a:cubicBezTo>
                    <a:pt x="2452" y="1167"/>
                    <a:pt x="2451" y="1285"/>
                    <a:pt x="2379" y="1358"/>
                  </a:cubicBezTo>
                  <a:lnTo>
                    <a:pt x="1920" y="1817"/>
                  </a:lnTo>
                  <a:cubicBezTo>
                    <a:pt x="1885" y="1853"/>
                    <a:pt x="1837" y="1872"/>
                    <a:pt x="1787" y="1872"/>
                  </a:cubicBezTo>
                  <a:cubicBezTo>
                    <a:pt x="1787" y="1872"/>
                    <a:pt x="1787" y="1872"/>
                    <a:pt x="1787" y="1872"/>
                  </a:cubicBezTo>
                  <a:close/>
                  <a:moveTo>
                    <a:pt x="196" y="1857"/>
                  </a:moveTo>
                  <a:cubicBezTo>
                    <a:pt x="87" y="1857"/>
                    <a:pt x="0" y="1771"/>
                    <a:pt x="0" y="1662"/>
                  </a:cubicBezTo>
                  <a:lnTo>
                    <a:pt x="0" y="211"/>
                  </a:lnTo>
                  <a:cubicBezTo>
                    <a:pt x="0" y="102"/>
                    <a:pt x="87" y="16"/>
                    <a:pt x="196" y="16"/>
                  </a:cubicBezTo>
                  <a:lnTo>
                    <a:pt x="1219" y="16"/>
                  </a:lnTo>
                  <a:cubicBezTo>
                    <a:pt x="1313" y="16"/>
                    <a:pt x="1390" y="92"/>
                    <a:pt x="1390" y="185"/>
                  </a:cubicBezTo>
                  <a:cubicBezTo>
                    <a:pt x="1390" y="278"/>
                    <a:pt x="1313" y="354"/>
                    <a:pt x="1219" y="354"/>
                  </a:cubicBezTo>
                  <a:lnTo>
                    <a:pt x="372" y="354"/>
                  </a:lnTo>
                  <a:lnTo>
                    <a:pt x="372" y="1518"/>
                  </a:lnTo>
                  <a:lnTo>
                    <a:pt x="1232" y="1518"/>
                  </a:lnTo>
                  <a:cubicBezTo>
                    <a:pt x="1327" y="1518"/>
                    <a:pt x="1404" y="1594"/>
                    <a:pt x="1404" y="1688"/>
                  </a:cubicBezTo>
                  <a:cubicBezTo>
                    <a:pt x="1404" y="1781"/>
                    <a:pt x="1327" y="1857"/>
                    <a:pt x="1232" y="1857"/>
                  </a:cubicBezTo>
                  <a:lnTo>
                    <a:pt x="196" y="1857"/>
                  </a:lnTo>
                  <a:close/>
                  <a:moveTo>
                    <a:pt x="590" y="1099"/>
                  </a:moveTo>
                  <a:lnTo>
                    <a:pt x="590" y="761"/>
                  </a:lnTo>
                  <a:lnTo>
                    <a:pt x="1628" y="761"/>
                  </a:lnTo>
                  <a:cubicBezTo>
                    <a:pt x="1723" y="761"/>
                    <a:pt x="1800" y="837"/>
                    <a:pt x="1800" y="930"/>
                  </a:cubicBezTo>
                  <a:cubicBezTo>
                    <a:pt x="1800" y="1023"/>
                    <a:pt x="1723" y="1099"/>
                    <a:pt x="1628" y="1099"/>
                  </a:cubicBezTo>
                  <a:lnTo>
                    <a:pt x="590" y="1099"/>
                  </a:lnTo>
                  <a:close/>
                  <a:moveTo>
                    <a:pt x="2806" y="831"/>
                  </a:moveTo>
                  <a:cubicBezTo>
                    <a:pt x="2757" y="831"/>
                    <a:pt x="2711" y="812"/>
                    <a:pt x="2677" y="777"/>
                  </a:cubicBezTo>
                  <a:cubicBezTo>
                    <a:pt x="2605" y="706"/>
                    <a:pt x="2606" y="588"/>
                    <a:pt x="2679" y="515"/>
                  </a:cubicBezTo>
                  <a:lnTo>
                    <a:pt x="3137" y="56"/>
                  </a:lnTo>
                  <a:cubicBezTo>
                    <a:pt x="3173" y="20"/>
                    <a:pt x="3220" y="0"/>
                    <a:pt x="3270" y="0"/>
                  </a:cubicBezTo>
                  <a:cubicBezTo>
                    <a:pt x="3319" y="0"/>
                    <a:pt x="3365" y="19"/>
                    <a:pt x="3399" y="54"/>
                  </a:cubicBezTo>
                  <a:cubicBezTo>
                    <a:pt x="3471" y="126"/>
                    <a:pt x="3470" y="243"/>
                    <a:pt x="3397" y="316"/>
                  </a:cubicBezTo>
                  <a:lnTo>
                    <a:pt x="2939" y="775"/>
                  </a:lnTo>
                  <a:cubicBezTo>
                    <a:pt x="2903" y="811"/>
                    <a:pt x="2856" y="831"/>
                    <a:pt x="2806" y="831"/>
                  </a:cubicBezTo>
                  <a:close/>
                  <a:moveTo>
                    <a:pt x="2252" y="831"/>
                  </a:moveTo>
                  <a:cubicBezTo>
                    <a:pt x="2202" y="831"/>
                    <a:pt x="2154" y="811"/>
                    <a:pt x="2119" y="775"/>
                  </a:cubicBezTo>
                  <a:lnTo>
                    <a:pt x="1660" y="316"/>
                  </a:lnTo>
                  <a:cubicBezTo>
                    <a:pt x="1588" y="243"/>
                    <a:pt x="1587" y="126"/>
                    <a:pt x="1658" y="54"/>
                  </a:cubicBezTo>
                  <a:cubicBezTo>
                    <a:pt x="1693" y="19"/>
                    <a:pt x="1739" y="0"/>
                    <a:pt x="1787" y="0"/>
                  </a:cubicBezTo>
                  <a:cubicBezTo>
                    <a:pt x="1837" y="0"/>
                    <a:pt x="1885" y="20"/>
                    <a:pt x="1920" y="56"/>
                  </a:cubicBezTo>
                  <a:lnTo>
                    <a:pt x="2379" y="515"/>
                  </a:lnTo>
                  <a:cubicBezTo>
                    <a:pt x="2451" y="588"/>
                    <a:pt x="2452" y="706"/>
                    <a:pt x="2381" y="777"/>
                  </a:cubicBezTo>
                  <a:cubicBezTo>
                    <a:pt x="2346" y="812"/>
                    <a:pt x="2300" y="831"/>
                    <a:pt x="2252" y="831"/>
                  </a:cubicBezTo>
                  <a:lnTo>
                    <a:pt x="2252" y="831"/>
                  </a:lnTo>
                  <a:close/>
                </a:path>
              </a:pathLst>
            </a:custGeom>
            <a:solidFill>
              <a:srgbClr val="20175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US" dirty="0"/>
            </a:p>
          </p:txBody>
        </p:sp>
      </p:grpSp>
    </p:spTree>
    <p:extLst>
      <p:ext uri="{BB962C8B-B14F-4D97-AF65-F5344CB8AC3E}">
        <p14:creationId xmlns:p14="http://schemas.microsoft.com/office/powerpoint/2010/main" val="78312319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Closing |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p:custDataLst>
              <p:tags r:id="rId2"/>
            </p:custDataLst>
            <p:extLst>
              <p:ext uri="{D42A27DB-BD31-4B8C-83A1-F6EECF244321}">
                <p14:modId xmlns:p14="http://schemas.microsoft.com/office/powerpoint/2010/main" val="2050589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53" name="think-cell Folie" r:id="rId5" imgW="286" imgH="286" progId="TCLayout.ActiveDocument.1">
                  <p:embed/>
                </p:oleObj>
              </mc:Choice>
              <mc:Fallback>
                <p:oleObj name="think-cell Foli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US" sz="3000" b="1" i="0" baseline="0"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vert="horz" anchor="t" anchorCtr="0"/>
          <a:lstStyle>
            <a:lvl1pPr algn="l" rtl="0">
              <a:lnSpc>
                <a:spcPct val="100000"/>
              </a:lnSpc>
              <a:spcBef>
                <a:spcPts val="0"/>
              </a:spcBef>
              <a:defRPr sz="4300" b="1">
                <a:solidFill>
                  <a:schemeClr val="tx1"/>
                </a:solidFill>
              </a:defRPr>
            </a:lvl1pPr>
          </a:lstStyle>
          <a:p>
            <a:r>
              <a:rPr lang="en-US" noProof="0" dirty="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rtl="0">
              <a:lnSpc>
                <a:spcPct val="100000"/>
              </a:lnSpc>
              <a:spcBef>
                <a:spcPts val="0"/>
              </a:spcBef>
              <a:spcAft>
                <a:spcPts val="0"/>
              </a:spcAft>
              <a:buNone/>
              <a:defRPr sz="1400">
                <a:solidFill>
                  <a:schemeClr val="tx1"/>
                </a:solidFill>
                <a:latin typeface="+mn-lt"/>
                <a:cs typeface="Abadi MT Condensed Extra Bold"/>
              </a:defRPr>
            </a:lvl1pPr>
            <a:lvl2pPr marL="0" indent="0" algn="l">
              <a:lnSpc>
                <a:spcPct val="100000"/>
              </a:lnSpc>
              <a:spcAft>
                <a:spcPts val="0"/>
              </a:spcAft>
              <a:buNone/>
              <a:defRPr sz="1400">
                <a:solidFill>
                  <a:schemeClr val="tx1"/>
                </a:solidFill>
              </a:defRPr>
            </a:lvl2pPr>
            <a:lvl3pPr marL="0" indent="0" algn="l">
              <a:lnSpc>
                <a:spcPct val="100000"/>
              </a:lnSpc>
              <a:spcAft>
                <a:spcPts val="0"/>
              </a:spcAft>
              <a:buNone/>
              <a:defRPr sz="1400">
                <a:solidFill>
                  <a:schemeClr val="tx1"/>
                </a:solidFill>
              </a:defRPr>
            </a:lvl3pPr>
            <a:lvl4pPr marL="0" indent="0" algn="l">
              <a:lnSpc>
                <a:spcPct val="100000"/>
              </a:lnSpc>
              <a:spcAft>
                <a:spcPts val="0"/>
              </a:spcAft>
              <a:buNone/>
              <a:defRPr sz="1400">
                <a:solidFill>
                  <a:schemeClr val="tx1"/>
                </a:solidFill>
              </a:defRPr>
            </a:lvl4pPr>
            <a:lvl5pPr marL="0" indent="0" algn="l">
              <a:lnSpc>
                <a:spcPct val="100000"/>
              </a:lnSpc>
              <a:spcAft>
                <a:spcPts val="0"/>
              </a:spcAft>
              <a:buNone/>
              <a:defRPr sz="1400">
                <a:solidFill>
                  <a:schemeClr val="tx1"/>
                </a:solidFill>
              </a:defRPr>
            </a:lvl5pPr>
            <a:lvl6pPr marL="0" indent="0" algn="l">
              <a:lnSpc>
                <a:spcPct val="100000"/>
              </a:lnSpc>
              <a:spcAft>
                <a:spcPts val="0"/>
              </a:spcAft>
              <a:buNone/>
              <a:defRPr sz="1400">
                <a:solidFill>
                  <a:schemeClr val="tx1"/>
                </a:solidFill>
              </a:defRPr>
            </a:lvl6pPr>
            <a:lvl7pPr marL="0" indent="0" algn="l">
              <a:lnSpc>
                <a:spcPct val="100000"/>
              </a:lnSpc>
              <a:spcAft>
                <a:spcPts val="0"/>
              </a:spcAft>
              <a:buNone/>
              <a:defRPr sz="1400">
                <a:solidFill>
                  <a:schemeClr val="tx1"/>
                </a:solidFill>
              </a:defRPr>
            </a:lvl7pPr>
            <a:lvl8pPr marL="0" indent="0" algn="l">
              <a:lnSpc>
                <a:spcPct val="100000"/>
              </a:lnSpc>
              <a:spcAft>
                <a:spcPts val="0"/>
              </a:spcAft>
              <a:buNone/>
              <a:defRPr sz="1400">
                <a:solidFill>
                  <a:schemeClr val="tx1"/>
                </a:solidFill>
              </a:defRPr>
            </a:lvl8pPr>
            <a:lvl9pPr marL="0" indent="0" algn="l">
              <a:lnSpc>
                <a:spcPct val="100000"/>
              </a:lnSpc>
              <a:spcAft>
                <a:spcPts val="0"/>
              </a:spcAft>
              <a:buNone/>
              <a:defRPr sz="1400">
                <a:solidFill>
                  <a:schemeClr val="tx1"/>
                </a:solidFill>
              </a:defRPr>
            </a:lvl9pPr>
          </a:lstStyle>
          <a:p>
            <a:r>
              <a:rPr lang="en-US" noProof="0" dirty="0"/>
              <a:t>Insert Contact Data</a:t>
            </a:r>
          </a:p>
          <a:p>
            <a:endParaRPr lang="en-US" noProof="0" dirty="0"/>
          </a:p>
        </p:txBody>
      </p:sp>
      <p:sp>
        <p:nvSpPr>
          <p:cNvPr id="15" name="Rechteck 14">
            <a:extLst>
              <a:ext uri="{FF2B5EF4-FFF2-40B4-BE49-F238E27FC236}">
                <a16:creationId xmlns:a16="http://schemas.microsoft.com/office/drawing/2014/main" id="{4EB0CB7E-9718-4DF4-BB58-8D22CBEA24FC}"/>
              </a:ext>
            </a:extLst>
          </p:cNvPr>
          <p:cNvSpPr/>
          <p:nvPr/>
        </p:nvSpPr>
        <p:spPr bwMode="gray">
          <a:xfrm>
            <a:off x="1566654" y="6286127"/>
            <a:ext cx="1019831" cy="295337"/>
          </a:xfrm>
          <a:prstGeom prst="rect">
            <a:avLst/>
          </a:prstGeom>
        </p:spPr>
        <p:txBody>
          <a:bodyPr wrap="none">
            <a:spAutoFit/>
          </a:bodyPr>
          <a:lstStyle/>
          <a:p>
            <a:pPr rtl="0">
              <a:lnSpc>
                <a:spcPct val="110000"/>
              </a:lnSpc>
            </a:pPr>
            <a:r>
              <a:rPr lang="en-US" sz="1300" b="1" noProof="0" dirty="0">
                <a:solidFill>
                  <a:schemeClr val="tx1"/>
                </a:solidFill>
                <a:cs typeface="Arial"/>
              </a:rPr>
              <a:t>eurex.com</a:t>
            </a:r>
          </a:p>
        </p:txBody>
      </p:sp>
      <p:pic>
        <p:nvPicPr>
          <p:cNvPr id="33" name="Grafik 32">
            <a:extLst>
              <a:ext uri="{FF2B5EF4-FFF2-40B4-BE49-F238E27FC236}">
                <a16:creationId xmlns:a16="http://schemas.microsoft.com/office/drawing/2014/main" id="{0E1A2CB0-6D74-448A-80A4-4DC1F573C46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bwMode="gray">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p:nvGrpSpPr>
        <p:grpSpPr bwMode="gray">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bwMode="gray">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bwMode="gray">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bwMode="gray">
            <a:xfrm>
              <a:off x="3483366" y="5826892"/>
              <a:ext cx="389641" cy="389641"/>
            </a:xfrm>
            <a:prstGeom prst="rect">
              <a:avLst/>
            </a:prstGeom>
          </p:spPr>
        </p:pic>
      </p:grpSp>
      <p:grpSp>
        <p:nvGrpSpPr>
          <p:cNvPr id="19" name="Gruppieren 18">
            <a:extLst>
              <a:ext uri="{FF2B5EF4-FFF2-40B4-BE49-F238E27FC236}">
                <a16:creationId xmlns:a16="http://schemas.microsoft.com/office/drawing/2014/main" id="{DCE47B92-4F39-4CC3-8CC2-49976D987D83}"/>
              </a:ext>
            </a:extLst>
          </p:cNvPr>
          <p:cNvGrpSpPr>
            <a:grpSpLocks noChangeAspect="1"/>
          </p:cNvGrpSpPr>
          <p:nvPr/>
        </p:nvGrpSpPr>
        <p:grpSpPr bwMode="gray">
          <a:xfrm>
            <a:off x="9334500" y="3238500"/>
            <a:ext cx="2857500" cy="3619500"/>
            <a:chOff x="2963652" y="2024844"/>
            <a:chExt cx="2857500" cy="3619500"/>
          </a:xfrm>
        </p:grpSpPr>
        <p:sp>
          <p:nvSpPr>
            <p:cNvPr id="23" name="Freihandform: Form 22">
              <a:extLst>
                <a:ext uri="{FF2B5EF4-FFF2-40B4-BE49-F238E27FC236}">
                  <a16:creationId xmlns:a16="http://schemas.microsoft.com/office/drawing/2014/main" id="{B324804C-B612-4BA6-B5ED-AB45197D167A}"/>
                </a:ext>
              </a:extLst>
            </p:cNvPr>
            <p:cNvSpPr/>
            <p:nvPr/>
          </p:nvSpPr>
          <p:spPr bwMode="gray">
            <a:xfrm>
              <a:off x="2963652" y="3929844"/>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pPr rtl="0"/>
              <a:endParaRPr lang="en-US" noProof="0" dirty="0"/>
            </a:p>
          </p:txBody>
        </p:sp>
        <p:sp>
          <p:nvSpPr>
            <p:cNvPr id="24" name="Freihandform: Form 23">
              <a:extLst>
                <a:ext uri="{FF2B5EF4-FFF2-40B4-BE49-F238E27FC236}">
                  <a16:creationId xmlns:a16="http://schemas.microsoft.com/office/drawing/2014/main" id="{3B69759A-97CF-49AB-9463-DC5120F1B7CF}"/>
                </a:ext>
              </a:extLst>
            </p:cNvPr>
            <p:cNvSpPr/>
            <p:nvPr/>
          </p:nvSpPr>
          <p:spPr bwMode="gray">
            <a:xfrm>
              <a:off x="3916152" y="3929844"/>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201751"/>
            </a:solidFill>
            <a:ln w="9525" cap="flat">
              <a:noFill/>
              <a:prstDash val="solid"/>
              <a:miter/>
            </a:ln>
          </p:spPr>
          <p:txBody>
            <a:bodyPr rtlCol="0" anchor="ctr"/>
            <a:lstStyle/>
            <a:p>
              <a:pPr rtl="0"/>
              <a:endParaRPr lang="en-US" noProof="0" dirty="0"/>
            </a:p>
          </p:txBody>
        </p:sp>
        <p:sp>
          <p:nvSpPr>
            <p:cNvPr id="26" name="Freihandform: Form 25">
              <a:extLst>
                <a:ext uri="{FF2B5EF4-FFF2-40B4-BE49-F238E27FC236}">
                  <a16:creationId xmlns:a16="http://schemas.microsoft.com/office/drawing/2014/main" id="{C0A1495F-8810-4CEE-AD8B-A43806F94FDF}"/>
                </a:ext>
              </a:extLst>
            </p:cNvPr>
            <p:cNvSpPr/>
            <p:nvPr/>
          </p:nvSpPr>
          <p:spPr bwMode="gray">
            <a:xfrm>
              <a:off x="4868652" y="2977344"/>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40000">
                  <a:srgbClr val="00CE7D"/>
                </a:gs>
                <a:gs pos="90000">
                  <a:srgbClr val="F3F3F3"/>
                </a:gs>
              </a:gsLst>
              <a:lin ang="5400000" scaled="1"/>
            </a:gradFill>
            <a:ln w="9525" cap="flat">
              <a:noFill/>
              <a:prstDash val="solid"/>
              <a:miter/>
            </a:ln>
          </p:spPr>
          <p:txBody>
            <a:bodyPr rtlCol="0" anchor="ctr"/>
            <a:lstStyle/>
            <a:p>
              <a:pPr rtl="0"/>
              <a:endParaRPr lang="en-US" noProof="0" dirty="0"/>
            </a:p>
          </p:txBody>
        </p:sp>
        <p:sp>
          <p:nvSpPr>
            <p:cNvPr id="27" name="Freihandform: Form 26">
              <a:extLst>
                <a:ext uri="{FF2B5EF4-FFF2-40B4-BE49-F238E27FC236}">
                  <a16:creationId xmlns:a16="http://schemas.microsoft.com/office/drawing/2014/main" id="{255A090A-6BCA-4196-A77D-94E99524B41C}"/>
                </a:ext>
              </a:extLst>
            </p:cNvPr>
            <p:cNvSpPr/>
            <p:nvPr/>
          </p:nvSpPr>
          <p:spPr bwMode="gray">
            <a:xfrm>
              <a:off x="2963652" y="2024844"/>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201751"/>
                </a:gs>
                <a:gs pos="90000">
                  <a:srgbClr val="F3F3F3"/>
                </a:gs>
              </a:gsLst>
              <a:lin ang="5400000" scaled="1"/>
            </a:gradFill>
            <a:ln w="9525" cap="flat">
              <a:noFill/>
              <a:prstDash val="solid"/>
              <a:miter/>
            </a:ln>
          </p:spPr>
          <p:txBody>
            <a:bodyPr rtlCol="0" anchor="ctr"/>
            <a:lstStyle/>
            <a:p>
              <a:pPr rtl="0"/>
              <a:endParaRPr lang="en-US" noProof="0" dirty="0"/>
            </a:p>
          </p:txBody>
        </p:sp>
      </p:grpSp>
      <p:grpSp>
        <p:nvGrpSpPr>
          <p:cNvPr id="18" name="Gruppieren 17">
            <a:extLst>
              <a:ext uri="{FF2B5EF4-FFF2-40B4-BE49-F238E27FC236}">
                <a16:creationId xmlns:a16="http://schemas.microsoft.com/office/drawing/2014/main" id="{524BA320-D58F-4CE1-83D6-FDBE7B68F03E}"/>
              </a:ext>
            </a:extLst>
          </p:cNvPr>
          <p:cNvGrpSpPr/>
          <p:nvPr/>
        </p:nvGrpSpPr>
        <p:grpSpPr bwMode="gray">
          <a:xfrm>
            <a:off x="10804526" y="1"/>
            <a:ext cx="809625" cy="1135063"/>
            <a:chOff x="10804526" y="1"/>
            <a:chExt cx="809625" cy="1135063"/>
          </a:xfrm>
        </p:grpSpPr>
        <p:sp>
          <p:nvSpPr>
            <p:cNvPr id="20" name="Freihandform: Form 19">
              <a:extLst>
                <a:ext uri="{FF2B5EF4-FFF2-40B4-BE49-F238E27FC236}">
                  <a16:creationId xmlns:a16="http://schemas.microsoft.com/office/drawing/2014/main" id="{03A49809-A332-4A41-B292-33AEB5FA0D87}"/>
                </a:ext>
              </a:extLst>
            </p:cNvPr>
            <p:cNvSpPr/>
            <p:nvPr userDrawn="1"/>
          </p:nvSpPr>
          <p:spPr bwMode="gray">
            <a:xfrm>
              <a:off x="10804526" y="1"/>
              <a:ext cx="809625" cy="1135063"/>
            </a:xfrm>
            <a:custGeom>
              <a:avLst/>
              <a:gdLst>
                <a:gd name="connsiteX0" fmla="*/ 0 w 809625"/>
                <a:gd name="connsiteY0" fmla="*/ 0 h 1135063"/>
                <a:gd name="connsiteX1" fmla="*/ 809625 w 809625"/>
                <a:gd name="connsiteY1" fmla="*/ 0 h 1135063"/>
                <a:gd name="connsiteX2" fmla="*/ 809625 w 809625"/>
                <a:gd name="connsiteY2" fmla="*/ 730422 h 1135063"/>
                <a:gd name="connsiteX3" fmla="*/ 404813 w 809625"/>
                <a:gd name="connsiteY3" fmla="*/ 1135063 h 1135063"/>
                <a:gd name="connsiteX4" fmla="*/ 0 w 809625"/>
                <a:gd name="connsiteY4" fmla="*/ 730422 h 1135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1135063">
                  <a:moveTo>
                    <a:pt x="0" y="0"/>
                  </a:moveTo>
                  <a:lnTo>
                    <a:pt x="809625" y="0"/>
                  </a:lnTo>
                  <a:lnTo>
                    <a:pt x="809625" y="730422"/>
                  </a:lnTo>
                  <a:cubicBezTo>
                    <a:pt x="809625" y="953908"/>
                    <a:pt x="628489" y="1135063"/>
                    <a:pt x="404813" y="1135063"/>
                  </a:cubicBezTo>
                  <a:cubicBezTo>
                    <a:pt x="181308" y="1135063"/>
                    <a:pt x="0" y="953908"/>
                    <a:pt x="0" y="730422"/>
                  </a:cubicBezTo>
                  <a:close/>
                </a:path>
              </a:pathLst>
            </a:custGeom>
            <a:solidFill>
              <a:srgbClr val="20175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bIns="79200" rtlCol="0" anchor="ctr">
              <a:noAutofit/>
            </a:bodyPr>
            <a:lstStyle/>
            <a:p>
              <a:pPr algn="ctr" rtl="0"/>
              <a:endParaRPr lang="en-US" sz="1400" dirty="0"/>
            </a:p>
          </p:txBody>
        </p:sp>
        <p:sp>
          <p:nvSpPr>
            <p:cNvPr id="21" name="Freeform 17">
              <a:extLst>
                <a:ext uri="{FF2B5EF4-FFF2-40B4-BE49-F238E27FC236}">
                  <a16:creationId xmlns:a16="http://schemas.microsoft.com/office/drawing/2014/main" id="{2ADBB2AC-6DFD-403D-A51F-55B8EC13F35F}"/>
                </a:ext>
              </a:extLst>
            </p:cNvPr>
            <p:cNvSpPr>
              <a:spLocks noEditPoints="1"/>
            </p:cNvSpPr>
            <p:nvPr userDrawn="1"/>
          </p:nvSpPr>
          <p:spPr bwMode="gray">
            <a:xfrm>
              <a:off x="10929938" y="487363"/>
              <a:ext cx="595313" cy="320675"/>
            </a:xfrm>
            <a:custGeom>
              <a:avLst/>
              <a:gdLst>
                <a:gd name="T0" fmla="*/ 3270 w 3471"/>
                <a:gd name="T1" fmla="*/ 1872 h 1872"/>
                <a:gd name="T2" fmla="*/ 3137 w 3471"/>
                <a:gd name="T3" fmla="*/ 1817 h 1872"/>
                <a:gd name="T4" fmla="*/ 2679 w 3471"/>
                <a:gd name="T5" fmla="*/ 1358 h 1872"/>
                <a:gd name="T6" fmla="*/ 2677 w 3471"/>
                <a:gd name="T7" fmla="*/ 1096 h 1872"/>
                <a:gd name="T8" fmla="*/ 2806 w 3471"/>
                <a:gd name="T9" fmla="*/ 1042 h 1872"/>
                <a:gd name="T10" fmla="*/ 2939 w 3471"/>
                <a:gd name="T11" fmla="*/ 1098 h 1872"/>
                <a:gd name="T12" fmla="*/ 3397 w 3471"/>
                <a:gd name="T13" fmla="*/ 1557 h 1872"/>
                <a:gd name="T14" fmla="*/ 3452 w 3471"/>
                <a:gd name="T15" fmla="*/ 1688 h 1872"/>
                <a:gd name="T16" fmla="*/ 3399 w 3471"/>
                <a:gd name="T17" fmla="*/ 1819 h 1872"/>
                <a:gd name="T18" fmla="*/ 3270 w 3471"/>
                <a:gd name="T19" fmla="*/ 1872 h 1872"/>
                <a:gd name="T20" fmla="*/ 3270 w 3471"/>
                <a:gd name="T21" fmla="*/ 1872 h 1872"/>
                <a:gd name="T22" fmla="*/ 1787 w 3471"/>
                <a:gd name="T23" fmla="*/ 1872 h 1872"/>
                <a:gd name="T24" fmla="*/ 1658 w 3471"/>
                <a:gd name="T25" fmla="*/ 1819 h 1872"/>
                <a:gd name="T26" fmla="*/ 1605 w 3471"/>
                <a:gd name="T27" fmla="*/ 1688 h 1872"/>
                <a:gd name="T28" fmla="*/ 1660 w 3471"/>
                <a:gd name="T29" fmla="*/ 1557 h 1872"/>
                <a:gd name="T30" fmla="*/ 2119 w 3471"/>
                <a:gd name="T31" fmla="*/ 1098 h 1872"/>
                <a:gd name="T32" fmla="*/ 2252 w 3471"/>
                <a:gd name="T33" fmla="*/ 1042 h 1872"/>
                <a:gd name="T34" fmla="*/ 2381 w 3471"/>
                <a:gd name="T35" fmla="*/ 1096 h 1872"/>
                <a:gd name="T36" fmla="*/ 2379 w 3471"/>
                <a:gd name="T37" fmla="*/ 1358 h 1872"/>
                <a:gd name="T38" fmla="*/ 1920 w 3471"/>
                <a:gd name="T39" fmla="*/ 1817 h 1872"/>
                <a:gd name="T40" fmla="*/ 1787 w 3471"/>
                <a:gd name="T41" fmla="*/ 1872 h 1872"/>
                <a:gd name="T42" fmla="*/ 1787 w 3471"/>
                <a:gd name="T43" fmla="*/ 1872 h 1872"/>
                <a:gd name="T44" fmla="*/ 196 w 3471"/>
                <a:gd name="T45" fmla="*/ 1857 h 1872"/>
                <a:gd name="T46" fmla="*/ 0 w 3471"/>
                <a:gd name="T47" fmla="*/ 1662 h 1872"/>
                <a:gd name="T48" fmla="*/ 0 w 3471"/>
                <a:gd name="T49" fmla="*/ 211 h 1872"/>
                <a:gd name="T50" fmla="*/ 196 w 3471"/>
                <a:gd name="T51" fmla="*/ 16 h 1872"/>
                <a:gd name="T52" fmla="*/ 1219 w 3471"/>
                <a:gd name="T53" fmla="*/ 16 h 1872"/>
                <a:gd name="T54" fmla="*/ 1390 w 3471"/>
                <a:gd name="T55" fmla="*/ 185 h 1872"/>
                <a:gd name="T56" fmla="*/ 1219 w 3471"/>
                <a:gd name="T57" fmla="*/ 354 h 1872"/>
                <a:gd name="T58" fmla="*/ 372 w 3471"/>
                <a:gd name="T59" fmla="*/ 354 h 1872"/>
                <a:gd name="T60" fmla="*/ 372 w 3471"/>
                <a:gd name="T61" fmla="*/ 1518 h 1872"/>
                <a:gd name="T62" fmla="*/ 1232 w 3471"/>
                <a:gd name="T63" fmla="*/ 1518 h 1872"/>
                <a:gd name="T64" fmla="*/ 1404 w 3471"/>
                <a:gd name="T65" fmla="*/ 1688 h 1872"/>
                <a:gd name="T66" fmla="*/ 1232 w 3471"/>
                <a:gd name="T67" fmla="*/ 1857 h 1872"/>
                <a:gd name="T68" fmla="*/ 196 w 3471"/>
                <a:gd name="T69" fmla="*/ 1857 h 1872"/>
                <a:gd name="T70" fmla="*/ 590 w 3471"/>
                <a:gd name="T71" fmla="*/ 1099 h 1872"/>
                <a:gd name="T72" fmla="*/ 590 w 3471"/>
                <a:gd name="T73" fmla="*/ 761 h 1872"/>
                <a:gd name="T74" fmla="*/ 1628 w 3471"/>
                <a:gd name="T75" fmla="*/ 761 h 1872"/>
                <a:gd name="T76" fmla="*/ 1800 w 3471"/>
                <a:gd name="T77" fmla="*/ 930 h 1872"/>
                <a:gd name="T78" fmla="*/ 1628 w 3471"/>
                <a:gd name="T79" fmla="*/ 1099 h 1872"/>
                <a:gd name="T80" fmla="*/ 590 w 3471"/>
                <a:gd name="T81" fmla="*/ 1099 h 1872"/>
                <a:gd name="T82" fmla="*/ 2806 w 3471"/>
                <a:gd name="T83" fmla="*/ 831 h 1872"/>
                <a:gd name="T84" fmla="*/ 2677 w 3471"/>
                <a:gd name="T85" fmla="*/ 777 h 1872"/>
                <a:gd name="T86" fmla="*/ 2679 w 3471"/>
                <a:gd name="T87" fmla="*/ 515 h 1872"/>
                <a:gd name="T88" fmla="*/ 3137 w 3471"/>
                <a:gd name="T89" fmla="*/ 56 h 1872"/>
                <a:gd name="T90" fmla="*/ 3270 w 3471"/>
                <a:gd name="T91" fmla="*/ 0 h 1872"/>
                <a:gd name="T92" fmla="*/ 3399 w 3471"/>
                <a:gd name="T93" fmla="*/ 54 h 1872"/>
                <a:gd name="T94" fmla="*/ 3397 w 3471"/>
                <a:gd name="T95" fmla="*/ 316 h 1872"/>
                <a:gd name="T96" fmla="*/ 2939 w 3471"/>
                <a:gd name="T97" fmla="*/ 775 h 1872"/>
                <a:gd name="T98" fmla="*/ 2806 w 3471"/>
                <a:gd name="T99" fmla="*/ 831 h 1872"/>
                <a:gd name="T100" fmla="*/ 2252 w 3471"/>
                <a:gd name="T101" fmla="*/ 831 h 1872"/>
                <a:gd name="T102" fmla="*/ 2119 w 3471"/>
                <a:gd name="T103" fmla="*/ 775 h 1872"/>
                <a:gd name="T104" fmla="*/ 1660 w 3471"/>
                <a:gd name="T105" fmla="*/ 316 h 1872"/>
                <a:gd name="T106" fmla="*/ 1658 w 3471"/>
                <a:gd name="T107" fmla="*/ 54 h 1872"/>
                <a:gd name="T108" fmla="*/ 1787 w 3471"/>
                <a:gd name="T109" fmla="*/ 0 h 1872"/>
                <a:gd name="T110" fmla="*/ 1920 w 3471"/>
                <a:gd name="T111" fmla="*/ 56 h 1872"/>
                <a:gd name="T112" fmla="*/ 2379 w 3471"/>
                <a:gd name="T113" fmla="*/ 515 h 1872"/>
                <a:gd name="T114" fmla="*/ 2381 w 3471"/>
                <a:gd name="T115" fmla="*/ 777 h 1872"/>
                <a:gd name="T116" fmla="*/ 2252 w 3471"/>
                <a:gd name="T117" fmla="*/ 831 h 1872"/>
                <a:gd name="T118" fmla="*/ 2252 w 3471"/>
                <a:gd name="T119" fmla="*/ 831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71" h="1872">
                  <a:moveTo>
                    <a:pt x="3270" y="1872"/>
                  </a:moveTo>
                  <a:cubicBezTo>
                    <a:pt x="3220" y="1872"/>
                    <a:pt x="3173" y="1853"/>
                    <a:pt x="3137" y="1817"/>
                  </a:cubicBezTo>
                  <a:lnTo>
                    <a:pt x="2679" y="1358"/>
                  </a:lnTo>
                  <a:cubicBezTo>
                    <a:pt x="2606" y="1285"/>
                    <a:pt x="2605" y="1167"/>
                    <a:pt x="2677" y="1096"/>
                  </a:cubicBezTo>
                  <a:cubicBezTo>
                    <a:pt x="2711" y="1061"/>
                    <a:pt x="2757" y="1042"/>
                    <a:pt x="2806" y="1042"/>
                  </a:cubicBezTo>
                  <a:cubicBezTo>
                    <a:pt x="2856" y="1042"/>
                    <a:pt x="2903" y="1062"/>
                    <a:pt x="2939" y="1098"/>
                  </a:cubicBezTo>
                  <a:lnTo>
                    <a:pt x="3397" y="1557"/>
                  </a:lnTo>
                  <a:cubicBezTo>
                    <a:pt x="3432" y="1592"/>
                    <a:pt x="3452" y="1639"/>
                    <a:pt x="3452" y="1688"/>
                  </a:cubicBezTo>
                  <a:cubicBezTo>
                    <a:pt x="3453" y="1738"/>
                    <a:pt x="3434" y="1784"/>
                    <a:pt x="3399" y="1819"/>
                  </a:cubicBezTo>
                  <a:cubicBezTo>
                    <a:pt x="3365" y="1854"/>
                    <a:pt x="3319" y="1872"/>
                    <a:pt x="3270" y="1872"/>
                  </a:cubicBezTo>
                  <a:lnTo>
                    <a:pt x="3270" y="1872"/>
                  </a:lnTo>
                  <a:close/>
                  <a:moveTo>
                    <a:pt x="1787" y="1872"/>
                  </a:moveTo>
                  <a:cubicBezTo>
                    <a:pt x="1739" y="1872"/>
                    <a:pt x="1693" y="1854"/>
                    <a:pt x="1658" y="1819"/>
                  </a:cubicBezTo>
                  <a:cubicBezTo>
                    <a:pt x="1624" y="1784"/>
                    <a:pt x="1605" y="1738"/>
                    <a:pt x="1605" y="1688"/>
                  </a:cubicBezTo>
                  <a:cubicBezTo>
                    <a:pt x="1605" y="1639"/>
                    <a:pt x="1625" y="1592"/>
                    <a:pt x="1660" y="1557"/>
                  </a:cubicBezTo>
                  <a:lnTo>
                    <a:pt x="2119" y="1098"/>
                  </a:lnTo>
                  <a:cubicBezTo>
                    <a:pt x="2154" y="1062"/>
                    <a:pt x="2202" y="1042"/>
                    <a:pt x="2252" y="1042"/>
                  </a:cubicBezTo>
                  <a:cubicBezTo>
                    <a:pt x="2300" y="1042"/>
                    <a:pt x="2346" y="1061"/>
                    <a:pt x="2381" y="1096"/>
                  </a:cubicBezTo>
                  <a:cubicBezTo>
                    <a:pt x="2452" y="1167"/>
                    <a:pt x="2451" y="1285"/>
                    <a:pt x="2379" y="1358"/>
                  </a:cubicBezTo>
                  <a:lnTo>
                    <a:pt x="1920" y="1817"/>
                  </a:lnTo>
                  <a:cubicBezTo>
                    <a:pt x="1885" y="1853"/>
                    <a:pt x="1837" y="1872"/>
                    <a:pt x="1787" y="1872"/>
                  </a:cubicBezTo>
                  <a:cubicBezTo>
                    <a:pt x="1787" y="1872"/>
                    <a:pt x="1787" y="1872"/>
                    <a:pt x="1787" y="1872"/>
                  </a:cubicBezTo>
                  <a:close/>
                  <a:moveTo>
                    <a:pt x="196" y="1857"/>
                  </a:moveTo>
                  <a:cubicBezTo>
                    <a:pt x="87" y="1857"/>
                    <a:pt x="0" y="1771"/>
                    <a:pt x="0" y="1662"/>
                  </a:cubicBezTo>
                  <a:lnTo>
                    <a:pt x="0" y="211"/>
                  </a:lnTo>
                  <a:cubicBezTo>
                    <a:pt x="0" y="102"/>
                    <a:pt x="87" y="16"/>
                    <a:pt x="196" y="16"/>
                  </a:cubicBezTo>
                  <a:lnTo>
                    <a:pt x="1219" y="16"/>
                  </a:lnTo>
                  <a:cubicBezTo>
                    <a:pt x="1313" y="16"/>
                    <a:pt x="1390" y="92"/>
                    <a:pt x="1390" y="185"/>
                  </a:cubicBezTo>
                  <a:cubicBezTo>
                    <a:pt x="1390" y="278"/>
                    <a:pt x="1313" y="354"/>
                    <a:pt x="1219" y="354"/>
                  </a:cubicBezTo>
                  <a:lnTo>
                    <a:pt x="372" y="354"/>
                  </a:lnTo>
                  <a:lnTo>
                    <a:pt x="372" y="1518"/>
                  </a:lnTo>
                  <a:lnTo>
                    <a:pt x="1232" y="1518"/>
                  </a:lnTo>
                  <a:cubicBezTo>
                    <a:pt x="1327" y="1518"/>
                    <a:pt x="1404" y="1594"/>
                    <a:pt x="1404" y="1688"/>
                  </a:cubicBezTo>
                  <a:cubicBezTo>
                    <a:pt x="1404" y="1781"/>
                    <a:pt x="1327" y="1857"/>
                    <a:pt x="1232" y="1857"/>
                  </a:cubicBezTo>
                  <a:lnTo>
                    <a:pt x="196" y="1857"/>
                  </a:lnTo>
                  <a:close/>
                  <a:moveTo>
                    <a:pt x="590" y="1099"/>
                  </a:moveTo>
                  <a:lnTo>
                    <a:pt x="590" y="761"/>
                  </a:lnTo>
                  <a:lnTo>
                    <a:pt x="1628" y="761"/>
                  </a:lnTo>
                  <a:cubicBezTo>
                    <a:pt x="1723" y="761"/>
                    <a:pt x="1800" y="837"/>
                    <a:pt x="1800" y="930"/>
                  </a:cubicBezTo>
                  <a:cubicBezTo>
                    <a:pt x="1800" y="1023"/>
                    <a:pt x="1723" y="1099"/>
                    <a:pt x="1628" y="1099"/>
                  </a:cubicBezTo>
                  <a:lnTo>
                    <a:pt x="590" y="1099"/>
                  </a:lnTo>
                  <a:close/>
                  <a:moveTo>
                    <a:pt x="2806" y="831"/>
                  </a:moveTo>
                  <a:cubicBezTo>
                    <a:pt x="2757" y="831"/>
                    <a:pt x="2711" y="812"/>
                    <a:pt x="2677" y="777"/>
                  </a:cubicBezTo>
                  <a:cubicBezTo>
                    <a:pt x="2605" y="706"/>
                    <a:pt x="2606" y="588"/>
                    <a:pt x="2679" y="515"/>
                  </a:cubicBezTo>
                  <a:lnTo>
                    <a:pt x="3137" y="56"/>
                  </a:lnTo>
                  <a:cubicBezTo>
                    <a:pt x="3173" y="20"/>
                    <a:pt x="3220" y="0"/>
                    <a:pt x="3270" y="0"/>
                  </a:cubicBezTo>
                  <a:cubicBezTo>
                    <a:pt x="3319" y="0"/>
                    <a:pt x="3365" y="19"/>
                    <a:pt x="3399" y="54"/>
                  </a:cubicBezTo>
                  <a:cubicBezTo>
                    <a:pt x="3471" y="126"/>
                    <a:pt x="3470" y="243"/>
                    <a:pt x="3397" y="316"/>
                  </a:cubicBezTo>
                  <a:lnTo>
                    <a:pt x="2939" y="775"/>
                  </a:lnTo>
                  <a:cubicBezTo>
                    <a:pt x="2903" y="811"/>
                    <a:pt x="2856" y="831"/>
                    <a:pt x="2806" y="831"/>
                  </a:cubicBezTo>
                  <a:close/>
                  <a:moveTo>
                    <a:pt x="2252" y="831"/>
                  </a:moveTo>
                  <a:cubicBezTo>
                    <a:pt x="2202" y="831"/>
                    <a:pt x="2154" y="811"/>
                    <a:pt x="2119" y="775"/>
                  </a:cubicBezTo>
                  <a:lnTo>
                    <a:pt x="1660" y="316"/>
                  </a:lnTo>
                  <a:cubicBezTo>
                    <a:pt x="1588" y="243"/>
                    <a:pt x="1587" y="126"/>
                    <a:pt x="1658" y="54"/>
                  </a:cubicBezTo>
                  <a:cubicBezTo>
                    <a:pt x="1693" y="19"/>
                    <a:pt x="1739" y="0"/>
                    <a:pt x="1787" y="0"/>
                  </a:cubicBezTo>
                  <a:cubicBezTo>
                    <a:pt x="1837" y="0"/>
                    <a:pt x="1885" y="20"/>
                    <a:pt x="1920" y="56"/>
                  </a:cubicBezTo>
                  <a:lnTo>
                    <a:pt x="2379" y="515"/>
                  </a:lnTo>
                  <a:cubicBezTo>
                    <a:pt x="2451" y="588"/>
                    <a:pt x="2452" y="706"/>
                    <a:pt x="2381" y="777"/>
                  </a:cubicBezTo>
                  <a:cubicBezTo>
                    <a:pt x="2346" y="812"/>
                    <a:pt x="2300" y="831"/>
                    <a:pt x="2252" y="831"/>
                  </a:cubicBezTo>
                  <a:lnTo>
                    <a:pt x="2252" y="83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US" dirty="0"/>
            </a:p>
          </p:txBody>
        </p:sp>
      </p:grpSp>
    </p:spTree>
    <p:extLst>
      <p:ext uri="{BB962C8B-B14F-4D97-AF65-F5344CB8AC3E}">
        <p14:creationId xmlns:p14="http://schemas.microsoft.com/office/powerpoint/2010/main" val="54968476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3F3F3"/>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5B62076-FC75-4AA0-9E80-245B63948118}"/>
              </a:ext>
            </a:extLst>
          </p:cNvPr>
          <p:cNvGraphicFramePr>
            <a:graphicFrameLocks noChangeAspect="1"/>
          </p:cNvGraphicFramePr>
          <p:nvPr>
            <p:custDataLst>
              <p:tags r:id="rId2"/>
            </p:custDataLst>
            <p:extLst>
              <p:ext uri="{D42A27DB-BD31-4B8C-83A1-F6EECF244321}">
                <p14:modId xmlns:p14="http://schemas.microsoft.com/office/powerpoint/2010/main" val="4204635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77" name="think-cell Folie" r:id="rId5" imgW="286" imgH="286" progId="TCLayout.ActiveDocument.1">
                  <p:embed/>
                </p:oleObj>
              </mc:Choice>
              <mc:Fallback>
                <p:oleObj name="think-cell Folie" r:id="rId5" imgW="286" imgH="286" progId="TCLayout.ActiveDocument.1">
                  <p:embed/>
                  <p:pic>
                    <p:nvPicPr>
                      <p:cNvPr id="12" name="Object 11" hidden="1">
                        <a:extLst>
                          <a:ext uri="{FF2B5EF4-FFF2-40B4-BE49-F238E27FC236}">
                            <a16:creationId xmlns:a16="http://schemas.microsoft.com/office/drawing/2014/main" id="{05B62076-FC75-4AA0-9E80-245B639481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0303AE8-D4F2-48F5-909C-2C10850F9DAB}"/>
              </a:ext>
            </a:extLst>
          </p:cNvPr>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US" sz="1500" b="1" i="0" baseline="0" dirty="0">
              <a:latin typeface="Arial" panose="020B0604020202020204" pitchFamily="34" charset="0"/>
              <a:ea typeface="+mj-ea"/>
              <a:cs typeface="+mj-cs"/>
              <a:sym typeface="Arial" panose="020B0604020202020204" pitchFamily="34" charset="0"/>
            </a:endParaRPr>
          </a:p>
        </p:txBody>
      </p:sp>
      <p:sp>
        <p:nvSpPr>
          <p:cNvPr id="11" name="Textplatzhalter 10">
            <a:extLst>
              <a:ext uri="{FF2B5EF4-FFF2-40B4-BE49-F238E27FC236}">
                <a16:creationId xmlns:a16="http://schemas.microsoft.com/office/drawing/2014/main" id="{1017ED3E-FC82-4D9B-94A5-4264C37EC417}"/>
              </a:ext>
            </a:extLst>
          </p:cNvPr>
          <p:cNvSpPr>
            <a:spLocks noGrp="1"/>
          </p:cNvSpPr>
          <p:nvPr>
            <p:ph type="body" sz="quarter" idx="12" hasCustomPrompt="1"/>
          </p:nvPr>
        </p:nvSpPr>
        <p:spPr bwMode="gray"/>
        <p:txBody>
          <a:bodyPr numCol="2" spcCol="432000"/>
          <a:lstStyle>
            <a:lvl1pPr rtl="0">
              <a:lnSpc>
                <a:spcPct val="100000"/>
              </a:lnSpc>
              <a:spcAft>
                <a:spcPts val="400"/>
              </a:spcAft>
              <a:defRPr sz="800"/>
            </a:lvl1pPr>
            <a:lvl2pPr marL="108000" indent="-108000" rtl="0">
              <a:lnSpc>
                <a:spcPct val="100000"/>
              </a:lnSpc>
              <a:spcAft>
                <a:spcPts val="400"/>
              </a:spcAft>
              <a:defRPr sz="800"/>
            </a:lvl2pPr>
            <a:lvl3pPr marL="216000" indent="-108000" rtl="0">
              <a:lnSpc>
                <a:spcPct val="100000"/>
              </a:lnSpc>
              <a:spcAft>
                <a:spcPts val="400"/>
              </a:spcAft>
              <a:defRPr sz="800"/>
            </a:lvl3pPr>
            <a:lvl4pPr marL="216000" indent="0" rtl="0">
              <a:lnSpc>
                <a:spcPct val="100000"/>
              </a:lnSpc>
              <a:spcAft>
                <a:spcPts val="400"/>
              </a:spcAft>
              <a:defRPr sz="800"/>
            </a:lvl4pPr>
            <a:lvl5pPr marL="216000" indent="0" rtl="0">
              <a:lnSpc>
                <a:spcPct val="110000"/>
              </a:lnSpc>
              <a:spcAft>
                <a:spcPts val="400"/>
              </a:spcAft>
              <a:buNone/>
              <a:defRPr sz="800"/>
            </a:lvl5pPr>
            <a:lvl6pPr marL="216000" indent="0" rtl="0">
              <a:lnSpc>
                <a:spcPct val="110000"/>
              </a:lnSpc>
              <a:spcAft>
                <a:spcPts val="400"/>
              </a:spcAft>
              <a:buNone/>
              <a:defRPr sz="800"/>
            </a:lvl6pPr>
            <a:lvl7pPr marL="216000" indent="0" rtl="0">
              <a:lnSpc>
                <a:spcPct val="110000"/>
              </a:lnSpc>
              <a:spcAft>
                <a:spcPts val="400"/>
              </a:spcAft>
              <a:buFont typeface="Arial" panose="020B0604020202020204" pitchFamily="34" charset="0"/>
              <a:buNone/>
              <a:defRPr sz="800"/>
            </a:lvl7pPr>
            <a:lvl8pPr marL="216000" indent="0" rtl="0">
              <a:lnSpc>
                <a:spcPct val="110000"/>
              </a:lnSpc>
              <a:spcAft>
                <a:spcPts val="400"/>
              </a:spcAft>
              <a:buNone/>
              <a:defRPr sz="800"/>
            </a:lvl8pPr>
            <a:lvl9pPr marL="216000" indent="0" rtl="0">
              <a:lnSpc>
                <a:spcPct val="110000"/>
              </a:lnSpc>
              <a:spcAft>
                <a:spcPts val="400"/>
              </a:spcAft>
              <a:buNone/>
              <a:defRPr sz="800"/>
            </a:lvl9pPr>
          </a:lstStyle>
          <a:p>
            <a:pPr lvl="0"/>
            <a:r>
              <a:rPr lang="en-US" noProof="0" dirty="0"/>
              <a:t>Level 1</a:t>
            </a:r>
          </a:p>
          <a:p>
            <a:pPr lvl="1"/>
            <a:r>
              <a:rPr lang="en-US" noProof="0" dirty="0"/>
              <a:t>Level 2</a:t>
            </a:r>
          </a:p>
          <a:p>
            <a:pPr lvl="2"/>
            <a:r>
              <a:rPr lang="en-US" noProof="0" dirty="0"/>
              <a:t>Level 3</a:t>
            </a:r>
          </a:p>
          <a:p>
            <a:pPr lvl="3"/>
            <a:r>
              <a:rPr lang="en-US" noProof="0" dirty="0"/>
              <a:t>Level 4 (with space after)</a:t>
            </a:r>
          </a:p>
          <a:p>
            <a:pPr lvl="4"/>
            <a:r>
              <a:rPr lang="en-US" noProof="0" dirty="0"/>
              <a:t>Level 5 (with space after)</a:t>
            </a:r>
          </a:p>
          <a:p>
            <a:pPr lvl="5"/>
            <a:r>
              <a:rPr lang="en-US" noProof="0" dirty="0"/>
              <a:t>Level 6 (with space after)</a:t>
            </a:r>
          </a:p>
          <a:p>
            <a:pPr lvl="6"/>
            <a:r>
              <a:rPr lang="en-US" noProof="0" dirty="0"/>
              <a:t>Level 7 (for tables)</a:t>
            </a:r>
          </a:p>
          <a:p>
            <a:pPr lvl="7"/>
            <a:r>
              <a:rPr lang="en-US" noProof="0" dirty="0"/>
              <a:t>Level 8</a:t>
            </a:r>
          </a:p>
          <a:p>
            <a:pPr lvl="8"/>
            <a:r>
              <a:rPr lang="en-US" noProof="0" dirty="0"/>
              <a:t>Level 9</a:t>
            </a:r>
          </a:p>
          <a:p>
            <a:pPr lvl="5"/>
            <a:endParaRPr lang="en-US" noProof="0" dirty="0"/>
          </a:p>
          <a:p>
            <a:pPr lvl="0"/>
            <a:endParaRPr lang="en-US" noProof="0" dirty="0"/>
          </a:p>
        </p:txBody>
      </p:sp>
      <p:sp>
        <p:nvSpPr>
          <p:cNvPr id="2" name="Date Placeholder 1">
            <a:extLst>
              <a:ext uri="{FF2B5EF4-FFF2-40B4-BE49-F238E27FC236}">
                <a16:creationId xmlns:a16="http://schemas.microsoft.com/office/drawing/2014/main" id="{5106830A-D0A5-4AA5-86EA-D7F8AEFE3DEB}"/>
              </a:ext>
            </a:extLst>
          </p:cNvPr>
          <p:cNvSpPr>
            <a:spLocks noGrp="1"/>
          </p:cNvSpPr>
          <p:nvPr>
            <p:ph type="dt" sz="half" idx="13"/>
          </p:nvPr>
        </p:nvSpPr>
        <p:spPr bwMode="gray"/>
        <p:txBody>
          <a:bodyPr/>
          <a:lstStyle>
            <a:lvl1pPr rtl="0">
              <a:defRPr/>
            </a:lvl1pPr>
          </a:lstStyle>
          <a:p>
            <a:fld id="{C52A0EEE-16FD-4B43-A75E-CC746CA3536C}" type="datetime1">
              <a:rPr lang="en-US"/>
              <a:t>1/16/2022</a:t>
            </a:fld>
            <a:endParaRPr lang="en-US" dirty="0"/>
          </a:p>
        </p:txBody>
      </p:sp>
      <p:sp>
        <p:nvSpPr>
          <p:cNvPr id="3" name="Slide Number Placeholder 2">
            <a:extLst>
              <a:ext uri="{FF2B5EF4-FFF2-40B4-BE49-F238E27FC236}">
                <a16:creationId xmlns:a16="http://schemas.microsoft.com/office/drawing/2014/main" id="{EE691B8E-F709-4E3D-9D23-8791CE6F82B1}"/>
              </a:ext>
            </a:extLst>
          </p:cNvPr>
          <p:cNvSpPr>
            <a:spLocks noGrp="1"/>
          </p:cNvSpPr>
          <p:nvPr>
            <p:ph type="sldNum" sz="quarter" idx="14"/>
          </p:nvPr>
        </p:nvSpPr>
        <p:spPr bwMode="gray"/>
        <p:txBody>
          <a:bodyPr/>
          <a:lstStyle>
            <a:lvl1pPr rtl="0">
              <a:defRPr/>
            </a:lvl1pPr>
          </a:lstStyle>
          <a:p>
            <a:fld id="{62CB3E74-FC4B-418A-B5F6-72ED80208EB2}" type="slidenum">
              <a:rPr lang="en-US"/>
              <a:pPr/>
              <a:t>‹#›</a:t>
            </a:fld>
            <a:endParaRPr lang="en-US" dirty="0"/>
          </a:p>
        </p:txBody>
      </p:sp>
      <p:sp>
        <p:nvSpPr>
          <p:cNvPr id="5" name="Titel 4">
            <a:extLst>
              <a:ext uri="{FF2B5EF4-FFF2-40B4-BE49-F238E27FC236}">
                <a16:creationId xmlns:a16="http://schemas.microsoft.com/office/drawing/2014/main" id="{8F62C6F6-6500-4CAC-BE45-3CB8EE904F2A}"/>
              </a:ext>
            </a:extLst>
          </p:cNvPr>
          <p:cNvSpPr>
            <a:spLocks noGrp="1"/>
          </p:cNvSpPr>
          <p:nvPr>
            <p:ph type="title"/>
          </p:nvPr>
        </p:nvSpPr>
        <p:spPr bwMode="gray"/>
        <p:txBody>
          <a:bodyPr vert="horz"/>
          <a:lstStyle>
            <a:lvl1pPr rtl="0">
              <a:defRPr/>
            </a:lvl1pPr>
          </a:lstStyle>
          <a:p>
            <a:r>
              <a:rPr lang="en-US" dirty="0" err="1"/>
              <a:t>Mastertitelformat</a:t>
            </a:r>
            <a:r>
              <a:rPr lang="en-US" dirty="0"/>
              <a:t> </a:t>
            </a:r>
            <a:r>
              <a:rPr lang="en-US" dirty="0" err="1"/>
              <a:t>bearbeiten</a:t>
            </a:r>
            <a:endParaRPr lang="en-US" dirty="0"/>
          </a:p>
        </p:txBody>
      </p:sp>
    </p:spTree>
    <p:extLst>
      <p:ext uri="{BB962C8B-B14F-4D97-AF65-F5344CB8AC3E}">
        <p14:creationId xmlns:p14="http://schemas.microsoft.com/office/powerpoint/2010/main" val="28912371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4"/>
          <p:cNvSpPr>
            <a:spLocks noGrp="1"/>
          </p:cNvSpPr>
          <p:nvPr>
            <p:ph type="title"/>
          </p:nvPr>
        </p:nvSpPr>
        <p:spPr/>
        <p:txBody>
          <a:bodyPr/>
          <a:lstStyle/>
          <a:p>
            <a:r>
              <a:rPr lang="en-US"/>
              <a:t>Click to edit Master title style</a:t>
            </a:r>
            <a:endParaRPr lang="en-GB"/>
          </a:p>
        </p:txBody>
      </p:sp>
      <p:sp>
        <p:nvSpPr>
          <p:cNvPr id="6" name="Slide Number Placeholder 5"/>
          <p:cNvSpPr>
            <a:spLocks noGrp="1" noChangeArrowheads="1"/>
          </p:cNvSpPr>
          <p:nvPr>
            <p:ph type="sldNum" sz="quarter" idx="4"/>
          </p:nvPr>
        </p:nvSpPr>
        <p:spPr bwMode="auto">
          <a:xfrm>
            <a:off x="11254318" y="6212412"/>
            <a:ext cx="444500" cy="1365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a:defRPr sz="900" b="1">
                <a:solidFill>
                  <a:schemeClr val="tx2"/>
                </a:solidFill>
              </a:defRPr>
            </a:lvl1pPr>
          </a:lstStyle>
          <a:p>
            <a:fld id="{9E9B88F9-258B-44EE-A083-6FEC6CBB293C}" type="slidenum">
              <a:rPr lang="en-GB"/>
              <a:pPr/>
              <a:t>‹#›</a:t>
            </a:fld>
            <a:endParaRPr lang="en-GB"/>
          </a:p>
        </p:txBody>
      </p:sp>
    </p:spTree>
    <p:extLst>
      <p:ext uri="{BB962C8B-B14F-4D97-AF65-F5344CB8AC3E}">
        <p14:creationId xmlns:p14="http://schemas.microsoft.com/office/powerpoint/2010/main" val="121018643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Kapitel (blau)">
    <p:bg bwMode="auto">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white">
          <a:xfrm>
            <a:off x="587375" y="1736812"/>
            <a:ext cx="971550" cy="1756496"/>
          </a:xfrm>
        </p:spPr>
        <p:txBody>
          <a:bodyPr/>
          <a:lstStyle>
            <a:lvl1pPr marL="0" indent="0">
              <a:lnSpc>
                <a:spcPct val="100000"/>
              </a:lnSpc>
              <a:buNone/>
              <a:defRPr sz="10400" b="1">
                <a:solidFill>
                  <a:schemeClr val="tx2"/>
                </a:solidFill>
              </a:defRPr>
            </a:lvl1pPr>
          </a:lstStyle>
          <a:p>
            <a:pPr lvl="0"/>
            <a:r>
              <a:rPr lang="en-US" noProof="0" dirty="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1200" y="6376858"/>
            <a:ext cx="576063" cy="126030"/>
          </a:xfrm>
          <a:prstGeom prst="rect">
            <a:avLst/>
          </a:prstGeom>
        </p:spPr>
      </p:pic>
      <p:grpSp>
        <p:nvGrpSpPr>
          <p:cNvPr id="23" name="Gruppieren 22">
            <a:extLst>
              <a:ext uri="{FF2B5EF4-FFF2-40B4-BE49-F238E27FC236}">
                <a16:creationId xmlns:a16="http://schemas.microsoft.com/office/drawing/2014/main" id="{A7A32B11-6251-44A6-A455-7582171F1494}"/>
              </a:ext>
            </a:extLst>
          </p:cNvPr>
          <p:cNvGrpSpPr>
            <a:grpSpLocks noChangeAspect="1"/>
          </p:cNvGrpSpPr>
          <p:nvPr userDrawn="1"/>
        </p:nvGrpSpPr>
        <p:grpSpPr bwMode="gray">
          <a:xfrm>
            <a:off x="10473990" y="2060575"/>
            <a:ext cx="1718009" cy="2577013"/>
            <a:chOff x="10473990" y="2384884"/>
            <a:chExt cx="1718009" cy="2577013"/>
          </a:xfrm>
        </p:grpSpPr>
        <p:sp>
          <p:nvSpPr>
            <p:cNvPr id="24" name="Freihandform: Form 23">
              <a:extLst>
                <a:ext uri="{FF2B5EF4-FFF2-40B4-BE49-F238E27FC236}">
                  <a16:creationId xmlns:a16="http://schemas.microsoft.com/office/drawing/2014/main" id="{FE4E3F4A-92EE-40B8-83C3-F687E3836A35}"/>
                </a:ext>
              </a:extLst>
            </p:cNvPr>
            <p:cNvSpPr/>
            <p:nvPr/>
          </p:nvSpPr>
          <p:spPr bwMode="gray">
            <a:xfrm>
              <a:off x="10473990" y="4102893"/>
              <a:ext cx="859004" cy="859004"/>
            </a:xfrm>
            <a:custGeom>
              <a:avLst/>
              <a:gdLst>
                <a:gd name="connsiteX0" fmla="*/ 0 w 859004"/>
                <a:gd name="connsiteY0" fmla="*/ 0 h 859004"/>
                <a:gd name="connsiteX1" fmla="*/ 859005 w 859004"/>
                <a:gd name="connsiteY1" fmla="*/ 0 h 859004"/>
                <a:gd name="connsiteX2" fmla="*/ 859005 w 859004"/>
                <a:gd name="connsiteY2" fmla="*/ 859005 h 859004"/>
                <a:gd name="connsiteX3" fmla="*/ 0 w 859004"/>
                <a:gd name="connsiteY3" fmla="*/ 859005 h 859004"/>
              </a:gdLst>
              <a:ahLst/>
              <a:cxnLst>
                <a:cxn ang="0">
                  <a:pos x="connsiteX0" y="connsiteY0"/>
                </a:cxn>
                <a:cxn ang="0">
                  <a:pos x="connsiteX1" y="connsiteY1"/>
                </a:cxn>
                <a:cxn ang="0">
                  <a:pos x="connsiteX2" y="connsiteY2"/>
                </a:cxn>
                <a:cxn ang="0">
                  <a:pos x="connsiteX3" y="connsiteY3"/>
                </a:cxn>
              </a:cxnLst>
              <a:rect l="l" t="t" r="r" b="b"/>
              <a:pathLst>
                <a:path w="859004" h="859004">
                  <a:moveTo>
                    <a:pt x="0" y="0"/>
                  </a:moveTo>
                  <a:lnTo>
                    <a:pt x="859005" y="0"/>
                  </a:lnTo>
                  <a:lnTo>
                    <a:pt x="859005" y="859005"/>
                  </a:lnTo>
                  <a:lnTo>
                    <a:pt x="0" y="859005"/>
                  </a:lnTo>
                  <a:close/>
                </a:path>
              </a:pathLst>
            </a:custGeom>
            <a:solidFill>
              <a:srgbClr val="00CE7D"/>
            </a:solidFill>
            <a:ln w="8572"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ACA577BB-972D-4F24-9540-3277C01DF70D}"/>
                </a:ext>
              </a:extLst>
            </p:cNvPr>
            <p:cNvSpPr/>
            <p:nvPr/>
          </p:nvSpPr>
          <p:spPr bwMode="gray">
            <a:xfrm>
              <a:off x="11332994" y="2384884"/>
              <a:ext cx="859004" cy="859004"/>
            </a:xfrm>
            <a:custGeom>
              <a:avLst/>
              <a:gdLst>
                <a:gd name="connsiteX0" fmla="*/ 859005 w 859004"/>
                <a:gd name="connsiteY0" fmla="*/ 859005 h 859004"/>
                <a:gd name="connsiteX1" fmla="*/ 0 w 859004"/>
                <a:gd name="connsiteY1" fmla="*/ 0 h 859004"/>
                <a:gd name="connsiteX2" fmla="*/ 859005 w 859004"/>
                <a:gd name="connsiteY2" fmla="*/ 0 h 859004"/>
              </a:gdLst>
              <a:ahLst/>
              <a:cxnLst>
                <a:cxn ang="0">
                  <a:pos x="connsiteX0" y="connsiteY0"/>
                </a:cxn>
                <a:cxn ang="0">
                  <a:pos x="connsiteX1" y="connsiteY1"/>
                </a:cxn>
                <a:cxn ang="0">
                  <a:pos x="connsiteX2" y="connsiteY2"/>
                </a:cxn>
              </a:cxnLst>
              <a:rect l="l" t="t" r="r" b="b"/>
              <a:pathLst>
                <a:path w="859004" h="859004">
                  <a:moveTo>
                    <a:pt x="859005" y="859005"/>
                  </a:moveTo>
                  <a:lnTo>
                    <a:pt x="0" y="0"/>
                  </a:lnTo>
                  <a:lnTo>
                    <a:pt x="859005" y="0"/>
                  </a:lnTo>
                  <a:close/>
                </a:path>
              </a:pathLst>
            </a:custGeom>
            <a:solidFill>
              <a:srgbClr val="00CE7D"/>
            </a:solidFill>
            <a:ln w="8572"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ED901D5-BFA6-429C-BBEF-FF46FC43B6B5}"/>
                </a:ext>
              </a:extLst>
            </p:cNvPr>
            <p:cNvSpPr/>
            <p:nvPr/>
          </p:nvSpPr>
          <p:spPr bwMode="gray">
            <a:xfrm>
              <a:off x="10473990" y="2384884"/>
              <a:ext cx="1718009" cy="1718009"/>
            </a:xfrm>
            <a:custGeom>
              <a:avLst/>
              <a:gdLst>
                <a:gd name="connsiteX0" fmla="*/ 859005 w 1718009"/>
                <a:gd name="connsiteY0" fmla="*/ 859005 h 1718009"/>
                <a:gd name="connsiteX1" fmla="*/ 1718009 w 1718009"/>
                <a:gd name="connsiteY1" fmla="*/ 1718009 h 1718009"/>
                <a:gd name="connsiteX2" fmla="*/ 859005 w 1718009"/>
                <a:gd name="connsiteY2" fmla="*/ 1718009 h 1718009"/>
                <a:gd name="connsiteX3" fmla="*/ 0 w 1718009"/>
                <a:gd name="connsiteY3" fmla="*/ 859005 h 1718009"/>
                <a:gd name="connsiteX4" fmla="*/ 0 w 1718009"/>
                <a:gd name="connsiteY4" fmla="*/ 0 h 17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009" h="1718009">
                  <a:moveTo>
                    <a:pt x="859005" y="859005"/>
                  </a:moveTo>
                  <a:lnTo>
                    <a:pt x="1718009" y="1718009"/>
                  </a:lnTo>
                  <a:lnTo>
                    <a:pt x="859005" y="1718009"/>
                  </a:lnTo>
                  <a:lnTo>
                    <a:pt x="0" y="859005"/>
                  </a:lnTo>
                  <a:lnTo>
                    <a:pt x="0" y="0"/>
                  </a:lnTo>
                  <a:close/>
                </a:path>
              </a:pathLst>
            </a:custGeom>
            <a:solidFill>
              <a:srgbClr val="FFFFFF"/>
            </a:solidFill>
            <a:ln w="8572"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CC7E09BA-4FEF-48FD-B8AD-8B50BF94E738}"/>
              </a:ext>
            </a:extLst>
          </p:cNvPr>
          <p:cNvSpPr>
            <a:spLocks noGrp="1"/>
          </p:cNvSpPr>
          <p:nvPr>
            <p:ph type="dt" sz="half" idx="11"/>
          </p:nvPr>
        </p:nvSpPr>
        <p:spPr/>
        <p:txBody>
          <a:bodyPr/>
          <a:lstStyle>
            <a:lvl1pPr>
              <a:defRPr>
                <a:solidFill>
                  <a:schemeClr val="bg1"/>
                </a:solidFill>
              </a:defRPr>
            </a:lvl1pPr>
          </a:lstStyle>
          <a:p>
            <a:fld id="{712A3BE7-7538-4ED6-A67C-2644D387AE0C}" type="datetime3">
              <a:rPr lang="en-US" noProof="0" smtClean="0"/>
              <a:t>16 January 2022</a:t>
            </a:fld>
            <a:endParaRPr lang="en-US" noProof="0"/>
          </a:p>
        </p:txBody>
      </p:sp>
      <p:sp>
        <p:nvSpPr>
          <p:cNvPr id="6" name="Slide Number Placeholder 5">
            <a:extLst>
              <a:ext uri="{FF2B5EF4-FFF2-40B4-BE49-F238E27FC236}">
                <a16:creationId xmlns:a16="http://schemas.microsoft.com/office/drawing/2014/main" id="{9B47D739-476D-4DE4-8BF7-5CCF6A910F43}"/>
              </a:ext>
            </a:extLst>
          </p:cNvPr>
          <p:cNvSpPr>
            <a:spLocks noGrp="1"/>
          </p:cNvSpPr>
          <p:nvPr>
            <p:ph type="sldNum" sz="quarter" idx="12"/>
          </p:nvPr>
        </p:nvSpPr>
        <p:spPr/>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43983163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a:lstStyle>
            <a:lvl1pPr>
              <a:defRPr/>
            </a:lvl1pPr>
          </a:lstStyle>
          <a:p>
            <a:r>
              <a:rPr lang="en-US" noProof="0"/>
              <a:t>Insert Slide Title</a:t>
            </a:r>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6" y="1700213"/>
            <a:ext cx="11017250" cy="4429125"/>
          </a:xfrm>
        </p:spPr>
        <p:txBody>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Date Placeholder 5">
            <a:extLst>
              <a:ext uri="{FF2B5EF4-FFF2-40B4-BE49-F238E27FC236}">
                <a16:creationId xmlns:a16="http://schemas.microsoft.com/office/drawing/2014/main" id="{93FF9AC7-EBBE-4495-9469-91BA126FC731}"/>
              </a:ext>
            </a:extLst>
          </p:cNvPr>
          <p:cNvSpPr>
            <a:spLocks noGrp="1"/>
          </p:cNvSpPr>
          <p:nvPr>
            <p:ph type="dt" sz="half" idx="10"/>
          </p:nvPr>
        </p:nvSpPr>
        <p:spPr/>
        <p:txBody>
          <a:bodyPr/>
          <a:lstStyle>
            <a:lvl1pPr>
              <a:defRPr/>
            </a:lvl1pPr>
          </a:lstStyle>
          <a:p>
            <a:r>
              <a:rPr lang="en-US" dirty="0"/>
              <a:t>October 2020</a:t>
            </a:r>
          </a:p>
        </p:txBody>
      </p:sp>
      <p:sp>
        <p:nvSpPr>
          <p:cNvPr id="7" name="Slide Number Placeholder 6">
            <a:extLst>
              <a:ext uri="{FF2B5EF4-FFF2-40B4-BE49-F238E27FC236}">
                <a16:creationId xmlns:a16="http://schemas.microsoft.com/office/drawing/2014/main" id="{82BC12CC-1E69-4455-A765-9ECE97FA3A7C}"/>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726788561"/>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el und 2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en-US" noProof="0"/>
              <a:t>Click to edit Master title style</a:t>
            </a:r>
          </a:p>
        </p:txBody>
      </p:sp>
      <p:sp>
        <p:nvSpPr>
          <p:cNvPr id="9" name="Inhaltsplatzhalter 8">
            <a:extLst>
              <a:ext uri="{FF2B5EF4-FFF2-40B4-BE49-F238E27FC236}">
                <a16:creationId xmlns:a16="http://schemas.microsoft.com/office/drawing/2014/main" id="{9498EFB6-F28B-4075-959C-D80C299D8C5E}"/>
              </a:ext>
            </a:extLst>
          </p:cNvPr>
          <p:cNvSpPr>
            <a:spLocks noGrp="1"/>
          </p:cNvSpPr>
          <p:nvPr>
            <p:ph sz="quarter" idx="16" hasCustomPrompt="1"/>
          </p:nvPr>
        </p:nvSpPr>
        <p:spPr>
          <a:xfrm>
            <a:off x="587375" y="1700213"/>
            <a:ext cx="5400675" cy="4429125"/>
          </a:xfrm>
        </p:spPr>
        <p:txBody>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Inhaltsplatzhalter 10">
            <a:extLst>
              <a:ext uri="{FF2B5EF4-FFF2-40B4-BE49-F238E27FC236}">
                <a16:creationId xmlns:a16="http://schemas.microsoft.com/office/drawing/2014/main" id="{ED1B5D5A-F9B8-4256-8DD8-396956155A1B}"/>
              </a:ext>
            </a:extLst>
          </p:cNvPr>
          <p:cNvSpPr>
            <a:spLocks noGrp="1"/>
          </p:cNvSpPr>
          <p:nvPr>
            <p:ph sz="quarter" idx="17" hasCustomPrompt="1"/>
          </p:nvPr>
        </p:nvSpPr>
        <p:spPr>
          <a:xfrm>
            <a:off x="6203950"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0B1A8501-2127-4A03-A204-7BE81284643B}"/>
              </a:ext>
            </a:extLst>
          </p:cNvPr>
          <p:cNvSpPr>
            <a:spLocks noGrp="1"/>
          </p:cNvSpPr>
          <p:nvPr>
            <p:ph type="dt" sz="half" idx="18"/>
          </p:nvPr>
        </p:nvSpPr>
        <p:spPr/>
        <p:txBody>
          <a:bodyPr/>
          <a:lstStyle>
            <a:lvl1pPr>
              <a:defRPr/>
            </a:lvl1pPr>
          </a:lstStyle>
          <a:p>
            <a:r>
              <a:rPr lang="en-US" dirty="0"/>
              <a:t>October 2020</a:t>
            </a:r>
          </a:p>
        </p:txBody>
      </p:sp>
      <p:sp>
        <p:nvSpPr>
          <p:cNvPr id="6" name="Slide Number Placeholder 5">
            <a:extLst>
              <a:ext uri="{FF2B5EF4-FFF2-40B4-BE49-F238E27FC236}">
                <a16:creationId xmlns:a16="http://schemas.microsoft.com/office/drawing/2014/main" id="{E1294DA3-4BD3-4274-9371-47EB990F8D81}"/>
              </a:ext>
            </a:extLst>
          </p:cNvPr>
          <p:cNvSpPr>
            <a:spLocks noGrp="1"/>
          </p:cNvSpPr>
          <p:nvPr>
            <p:ph type="sldNum" sz="quarter" idx="19"/>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71053595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 Blue 2">
    <p:bg bwMode="auto">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p:custDataLst>
              <p:tags r:id="rId2"/>
            </p:custDataLst>
            <p:extLst>
              <p:ext uri="{D42A27DB-BD31-4B8C-83A1-F6EECF244321}">
                <p14:modId xmlns:p14="http://schemas.microsoft.com/office/powerpoint/2010/main" val="2678923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5" name="think-cell Folie" r:id="rId5" imgW="286" imgH="286" progId="TCLayout.ActiveDocument.1">
                  <p:embed/>
                </p:oleObj>
              </mc:Choice>
              <mc:Fallback>
                <p:oleObj name="think-cell Foli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US" sz="3000" b="1" i="0" baseline="0"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vert="horz" anchor="t" anchorCtr="0"/>
          <a:lstStyle>
            <a:lvl1pPr algn="l" rtl="0">
              <a:lnSpc>
                <a:spcPct val="100000"/>
              </a:lnSpc>
              <a:spcBef>
                <a:spcPts val="0"/>
              </a:spcBef>
              <a:defRPr sz="4300" b="1">
                <a:solidFill>
                  <a:schemeClr val="tx1"/>
                </a:solidFill>
              </a:defRPr>
            </a:lvl1pPr>
          </a:lstStyle>
          <a:p>
            <a:r>
              <a:rPr lang="en-US" noProof="0" dirty="0"/>
              <a:t>Presentation </a:t>
            </a:r>
            <a:br>
              <a:rPr lang="en-US" noProof="0" dirty="0"/>
            </a:br>
            <a:r>
              <a:rPr lang="en-US" noProof="0" dirty="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rtl="0">
              <a:lnSpc>
                <a:spcPct val="100000"/>
              </a:lnSpc>
              <a:spcBef>
                <a:spcPts val="0"/>
              </a:spcBef>
              <a:spcAft>
                <a:spcPts val="0"/>
              </a:spcAft>
              <a:buNone/>
              <a:defRPr sz="2400">
                <a:solidFill>
                  <a:schemeClr val="tx1"/>
                </a:solidFill>
                <a:latin typeface="+mn-lt"/>
                <a:cs typeface="Abadi MT Condensed Extra Bold"/>
              </a:defRPr>
            </a:lvl1pPr>
            <a:lvl2pPr marL="0" indent="0" algn="l">
              <a:lnSpc>
                <a:spcPct val="100000"/>
              </a:lnSpc>
              <a:spcAft>
                <a:spcPts val="0"/>
              </a:spcAft>
              <a:buNone/>
              <a:defRPr sz="2400"/>
            </a:lvl2pPr>
            <a:lvl3pPr marL="0" indent="0" algn="l">
              <a:lnSpc>
                <a:spcPct val="100000"/>
              </a:lnSpc>
              <a:spcAft>
                <a:spcPts val="0"/>
              </a:spcAft>
              <a:buNone/>
              <a:defRPr sz="2400"/>
            </a:lvl3pPr>
            <a:lvl4pPr marL="0" indent="0" algn="l">
              <a:lnSpc>
                <a:spcPct val="100000"/>
              </a:lnSpc>
              <a:spcAft>
                <a:spcPts val="0"/>
              </a:spcAft>
              <a:buNone/>
              <a:defRPr sz="2400"/>
            </a:lvl4pPr>
            <a:lvl5pPr marL="0" indent="0" algn="l">
              <a:lnSpc>
                <a:spcPct val="100000"/>
              </a:lnSpc>
              <a:spcAft>
                <a:spcPts val="0"/>
              </a:spcAft>
              <a:buNone/>
              <a:defRPr sz="2400"/>
            </a:lvl5pPr>
            <a:lvl6pPr marL="0" indent="0" algn="l">
              <a:lnSpc>
                <a:spcPct val="100000"/>
              </a:lnSpc>
              <a:spcAft>
                <a:spcPts val="0"/>
              </a:spcAft>
              <a:buNone/>
              <a:defRPr sz="2400"/>
            </a:lvl6pPr>
            <a:lvl7pPr marL="0" indent="0" algn="l">
              <a:lnSpc>
                <a:spcPct val="100000"/>
              </a:lnSpc>
              <a:spcAft>
                <a:spcPts val="0"/>
              </a:spcAft>
              <a:buNone/>
              <a:defRPr sz="2400"/>
            </a:lvl7pPr>
            <a:lvl8pPr marL="0" indent="0" algn="l">
              <a:lnSpc>
                <a:spcPct val="100000"/>
              </a:lnSpc>
              <a:spcAft>
                <a:spcPts val="0"/>
              </a:spcAft>
              <a:buNone/>
              <a:defRPr sz="2400"/>
            </a:lvl8pPr>
            <a:lvl9pPr marL="0" indent="0" algn="l">
              <a:lnSpc>
                <a:spcPct val="100000"/>
              </a:lnSpc>
              <a:spcAft>
                <a:spcPts val="0"/>
              </a:spcAft>
              <a:buNone/>
              <a:defRPr sz="2400"/>
            </a:lvl9pPr>
          </a:lstStyle>
          <a:p>
            <a:r>
              <a:rPr lang="en-US" noProof="0" dirty="0"/>
              <a:t>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gray">
          <a:xfrm>
            <a:off x="586817" y="4689140"/>
            <a:ext cx="3529571" cy="288032"/>
          </a:xfrm>
        </p:spPr>
        <p:txBody>
          <a:bodyPr anchor="t"/>
          <a:lstStyle>
            <a:lvl1pPr marL="0" indent="0" algn="l" rtl="0">
              <a:lnSpc>
                <a:spcPct val="100000"/>
              </a:lnSpc>
              <a:spcBef>
                <a:spcPts val="0"/>
              </a:spcBef>
              <a:spcAft>
                <a:spcPts val="0"/>
              </a:spcAft>
              <a:buFontTx/>
              <a:buNone/>
              <a:defRPr sz="1400">
                <a:solidFill>
                  <a:schemeClr val="tx1"/>
                </a:solidFill>
              </a:defRPr>
            </a:lvl1pPr>
            <a:lvl2pPr marL="0" indent="0">
              <a:lnSpc>
                <a:spcPct val="100000"/>
              </a:lnSpc>
              <a:spcBef>
                <a:spcPts val="0"/>
              </a:spcBef>
              <a:spcAft>
                <a:spcPts val="0"/>
              </a:spcAft>
              <a:buFontTx/>
              <a:buNone/>
              <a:defRPr sz="1400"/>
            </a:lvl2pPr>
            <a:lvl3pPr marL="0" indent="0">
              <a:lnSpc>
                <a:spcPct val="100000"/>
              </a:lnSpc>
              <a:spcBef>
                <a:spcPts val="0"/>
              </a:spcBef>
              <a:spcAft>
                <a:spcPts val="0"/>
              </a:spcAft>
              <a:buFontTx/>
              <a:buNone/>
              <a:defRPr sz="1400"/>
            </a:lvl3pPr>
            <a:lvl4pPr marL="0" indent="0">
              <a:lnSpc>
                <a:spcPct val="100000"/>
              </a:lnSpc>
              <a:spcBef>
                <a:spcPts val="0"/>
              </a:spcBef>
              <a:spcAft>
                <a:spcPts val="0"/>
              </a:spcAft>
              <a:buFontTx/>
              <a:buNone/>
              <a:defRPr sz="1400"/>
            </a:lvl4pPr>
            <a:lvl5pPr marL="0" indent="0">
              <a:lnSpc>
                <a:spcPct val="100000"/>
              </a:lnSpc>
              <a:spcBef>
                <a:spcPts val="0"/>
              </a:spcBef>
              <a:spcAft>
                <a:spcPts val="0"/>
              </a:spcAft>
              <a:buFontTx/>
              <a:buNone/>
              <a:defRPr sz="1400"/>
            </a:lvl5pPr>
            <a:lvl6pPr marL="0" indent="0">
              <a:lnSpc>
                <a:spcPct val="100000"/>
              </a:lnSpc>
              <a:spcBef>
                <a:spcPts val="0"/>
              </a:spcBef>
              <a:spcAft>
                <a:spcPts val="0"/>
              </a:spcAft>
              <a:buFontTx/>
              <a:buNone/>
              <a:defRPr sz="1400"/>
            </a:lvl6pPr>
            <a:lvl7pPr marL="0" indent="0">
              <a:lnSpc>
                <a:spcPct val="100000"/>
              </a:lnSpc>
              <a:spcBef>
                <a:spcPts val="0"/>
              </a:spcBef>
              <a:spcAft>
                <a:spcPts val="0"/>
              </a:spcAft>
              <a:buFontTx/>
              <a:buNone/>
              <a:defRPr sz="1400"/>
            </a:lvl7pPr>
            <a:lvl8pPr marL="0" indent="0">
              <a:lnSpc>
                <a:spcPct val="100000"/>
              </a:lnSpc>
              <a:spcBef>
                <a:spcPts val="0"/>
              </a:spcBef>
              <a:spcAft>
                <a:spcPts val="0"/>
              </a:spcAft>
              <a:buFontTx/>
              <a:buNone/>
              <a:defRPr sz="1400"/>
            </a:lvl8pPr>
            <a:lvl9pPr marL="0" indent="0">
              <a:lnSpc>
                <a:spcPct val="100000"/>
              </a:lnSpc>
              <a:spcBef>
                <a:spcPts val="0"/>
              </a:spcBef>
              <a:spcAft>
                <a:spcPts val="0"/>
              </a:spcAft>
              <a:buFontTx/>
              <a:buNone/>
              <a:defRPr sz="1400"/>
            </a:lvl9pPr>
          </a:lstStyle>
          <a:p>
            <a:fld id="{60C78D2D-488B-427F-9F58-A5FBB3BF8574}" type="datetime1">
              <a:rPr lang="en-US"/>
              <a:t>1/16/2022</a:t>
            </a:fld>
            <a:endParaRPr lang="en-US" dirty="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bwMode="gray">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p:nvGrpSpPr>
        <p:grpSpPr bwMode="gray">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bwMode="gray">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pPr rtl="0"/>
              <a:endParaRPr lang="en-US" dirty="0"/>
            </a:p>
          </p:txBody>
        </p:sp>
        <p:sp>
          <p:nvSpPr>
            <p:cNvPr id="26" name="Freihandform: Form 25">
              <a:extLst>
                <a:ext uri="{FF2B5EF4-FFF2-40B4-BE49-F238E27FC236}">
                  <a16:creationId xmlns:a16="http://schemas.microsoft.com/office/drawing/2014/main" id="{9114E78E-1106-48E6-A1F0-2DFA201B8635}"/>
                </a:ext>
              </a:extLst>
            </p:cNvPr>
            <p:cNvSpPr/>
            <p:nvPr/>
          </p:nvSpPr>
          <p:spPr bwMode="gray">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pPr rtl="0"/>
              <a:endParaRPr lang="en-US" dirty="0"/>
            </a:p>
          </p:txBody>
        </p:sp>
        <p:sp>
          <p:nvSpPr>
            <p:cNvPr id="27" name="Freihandform: Form 26">
              <a:extLst>
                <a:ext uri="{FF2B5EF4-FFF2-40B4-BE49-F238E27FC236}">
                  <a16:creationId xmlns:a16="http://schemas.microsoft.com/office/drawing/2014/main" id="{0C316EA6-55AF-40C5-AC64-E996B2E4C425}"/>
                </a:ext>
              </a:extLst>
            </p:cNvPr>
            <p:cNvSpPr/>
            <p:nvPr/>
          </p:nvSpPr>
          <p:spPr bwMode="gray">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pPr rtl="0"/>
              <a:endParaRPr lang="en-US" dirty="0"/>
            </a:p>
          </p:txBody>
        </p:sp>
        <p:sp>
          <p:nvSpPr>
            <p:cNvPr id="28" name="Freihandform: Form 27">
              <a:extLst>
                <a:ext uri="{FF2B5EF4-FFF2-40B4-BE49-F238E27FC236}">
                  <a16:creationId xmlns:a16="http://schemas.microsoft.com/office/drawing/2014/main" id="{1A4E63AB-059C-4C37-96CB-B9EB5192C533}"/>
                </a:ext>
              </a:extLst>
            </p:cNvPr>
            <p:cNvSpPr/>
            <p:nvPr/>
          </p:nvSpPr>
          <p:spPr bwMode="gray">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pPr rtl="0"/>
              <a:endParaRPr lang="en-US" dirty="0"/>
            </a:p>
          </p:txBody>
        </p:sp>
        <p:sp>
          <p:nvSpPr>
            <p:cNvPr id="29" name="Freihandform: Form 28">
              <a:extLst>
                <a:ext uri="{FF2B5EF4-FFF2-40B4-BE49-F238E27FC236}">
                  <a16:creationId xmlns:a16="http://schemas.microsoft.com/office/drawing/2014/main" id="{DF69AC47-7EBD-4D7A-9F50-9933AE315AED}"/>
                </a:ext>
              </a:extLst>
            </p:cNvPr>
            <p:cNvSpPr/>
            <p:nvPr/>
          </p:nvSpPr>
          <p:spPr bwMode="gray">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pPr rtl="0"/>
              <a:endParaRPr lang="en-US" dirty="0"/>
            </a:p>
          </p:txBody>
        </p:sp>
      </p:grpSp>
      <p:grpSp>
        <p:nvGrpSpPr>
          <p:cNvPr id="15" name="Gruppieren 14">
            <a:extLst>
              <a:ext uri="{FF2B5EF4-FFF2-40B4-BE49-F238E27FC236}">
                <a16:creationId xmlns:a16="http://schemas.microsoft.com/office/drawing/2014/main" id="{AEF992F0-B3EB-4191-8AB3-AD2BFB925606}"/>
              </a:ext>
            </a:extLst>
          </p:cNvPr>
          <p:cNvGrpSpPr/>
          <p:nvPr/>
        </p:nvGrpSpPr>
        <p:grpSpPr bwMode="gray">
          <a:xfrm>
            <a:off x="10804526" y="1"/>
            <a:ext cx="809625" cy="1135063"/>
            <a:chOff x="10804526" y="1"/>
            <a:chExt cx="809625" cy="1135063"/>
          </a:xfrm>
        </p:grpSpPr>
        <p:sp>
          <p:nvSpPr>
            <p:cNvPr id="16" name="Freihandform: Form 15">
              <a:extLst>
                <a:ext uri="{FF2B5EF4-FFF2-40B4-BE49-F238E27FC236}">
                  <a16:creationId xmlns:a16="http://schemas.microsoft.com/office/drawing/2014/main" id="{F9D8D461-A362-48A4-9B04-84E28206311E}"/>
                </a:ext>
              </a:extLst>
            </p:cNvPr>
            <p:cNvSpPr/>
            <p:nvPr userDrawn="1"/>
          </p:nvSpPr>
          <p:spPr bwMode="gray">
            <a:xfrm>
              <a:off x="10804526" y="1"/>
              <a:ext cx="809625" cy="1135063"/>
            </a:xfrm>
            <a:custGeom>
              <a:avLst/>
              <a:gdLst>
                <a:gd name="connsiteX0" fmla="*/ 0 w 809625"/>
                <a:gd name="connsiteY0" fmla="*/ 0 h 1135063"/>
                <a:gd name="connsiteX1" fmla="*/ 809625 w 809625"/>
                <a:gd name="connsiteY1" fmla="*/ 0 h 1135063"/>
                <a:gd name="connsiteX2" fmla="*/ 809625 w 809625"/>
                <a:gd name="connsiteY2" fmla="*/ 730422 h 1135063"/>
                <a:gd name="connsiteX3" fmla="*/ 404813 w 809625"/>
                <a:gd name="connsiteY3" fmla="*/ 1135063 h 1135063"/>
                <a:gd name="connsiteX4" fmla="*/ 0 w 809625"/>
                <a:gd name="connsiteY4" fmla="*/ 730422 h 1135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1135063">
                  <a:moveTo>
                    <a:pt x="0" y="0"/>
                  </a:moveTo>
                  <a:lnTo>
                    <a:pt x="809625" y="0"/>
                  </a:lnTo>
                  <a:lnTo>
                    <a:pt x="809625" y="730422"/>
                  </a:lnTo>
                  <a:cubicBezTo>
                    <a:pt x="809625" y="953908"/>
                    <a:pt x="628489" y="1135063"/>
                    <a:pt x="404813" y="1135063"/>
                  </a:cubicBezTo>
                  <a:cubicBezTo>
                    <a:pt x="181308" y="1135063"/>
                    <a:pt x="0" y="953908"/>
                    <a:pt x="0" y="730422"/>
                  </a:cubicBezTo>
                  <a:close/>
                </a:path>
              </a:pathLst>
            </a:custGeom>
            <a:solidFill>
              <a:srgbClr val="00CE7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bIns="79200" rtlCol="0" anchor="ctr">
              <a:noAutofit/>
            </a:bodyPr>
            <a:lstStyle/>
            <a:p>
              <a:pPr algn="ctr" rtl="0"/>
              <a:endParaRPr lang="en-US" sz="1400" dirty="0"/>
            </a:p>
          </p:txBody>
        </p:sp>
        <p:sp>
          <p:nvSpPr>
            <p:cNvPr id="17" name="Freeform 17">
              <a:extLst>
                <a:ext uri="{FF2B5EF4-FFF2-40B4-BE49-F238E27FC236}">
                  <a16:creationId xmlns:a16="http://schemas.microsoft.com/office/drawing/2014/main" id="{15FBEFD8-FFC0-429A-A030-E706FE389DC0}"/>
                </a:ext>
              </a:extLst>
            </p:cNvPr>
            <p:cNvSpPr>
              <a:spLocks noEditPoints="1"/>
            </p:cNvSpPr>
            <p:nvPr userDrawn="1"/>
          </p:nvSpPr>
          <p:spPr bwMode="gray">
            <a:xfrm>
              <a:off x="10929938" y="487363"/>
              <a:ext cx="595313" cy="320675"/>
            </a:xfrm>
            <a:custGeom>
              <a:avLst/>
              <a:gdLst>
                <a:gd name="T0" fmla="*/ 3270 w 3471"/>
                <a:gd name="T1" fmla="*/ 1872 h 1872"/>
                <a:gd name="T2" fmla="*/ 3137 w 3471"/>
                <a:gd name="T3" fmla="*/ 1817 h 1872"/>
                <a:gd name="T4" fmla="*/ 2679 w 3471"/>
                <a:gd name="T5" fmla="*/ 1358 h 1872"/>
                <a:gd name="T6" fmla="*/ 2677 w 3471"/>
                <a:gd name="T7" fmla="*/ 1096 h 1872"/>
                <a:gd name="T8" fmla="*/ 2806 w 3471"/>
                <a:gd name="T9" fmla="*/ 1042 h 1872"/>
                <a:gd name="T10" fmla="*/ 2939 w 3471"/>
                <a:gd name="T11" fmla="*/ 1098 h 1872"/>
                <a:gd name="T12" fmla="*/ 3397 w 3471"/>
                <a:gd name="T13" fmla="*/ 1557 h 1872"/>
                <a:gd name="T14" fmla="*/ 3452 w 3471"/>
                <a:gd name="T15" fmla="*/ 1688 h 1872"/>
                <a:gd name="T16" fmla="*/ 3399 w 3471"/>
                <a:gd name="T17" fmla="*/ 1819 h 1872"/>
                <a:gd name="T18" fmla="*/ 3270 w 3471"/>
                <a:gd name="T19" fmla="*/ 1872 h 1872"/>
                <a:gd name="T20" fmla="*/ 3270 w 3471"/>
                <a:gd name="T21" fmla="*/ 1872 h 1872"/>
                <a:gd name="T22" fmla="*/ 1787 w 3471"/>
                <a:gd name="T23" fmla="*/ 1872 h 1872"/>
                <a:gd name="T24" fmla="*/ 1658 w 3471"/>
                <a:gd name="T25" fmla="*/ 1819 h 1872"/>
                <a:gd name="T26" fmla="*/ 1605 w 3471"/>
                <a:gd name="T27" fmla="*/ 1688 h 1872"/>
                <a:gd name="T28" fmla="*/ 1660 w 3471"/>
                <a:gd name="T29" fmla="*/ 1557 h 1872"/>
                <a:gd name="T30" fmla="*/ 2119 w 3471"/>
                <a:gd name="T31" fmla="*/ 1098 h 1872"/>
                <a:gd name="T32" fmla="*/ 2252 w 3471"/>
                <a:gd name="T33" fmla="*/ 1042 h 1872"/>
                <a:gd name="T34" fmla="*/ 2381 w 3471"/>
                <a:gd name="T35" fmla="*/ 1096 h 1872"/>
                <a:gd name="T36" fmla="*/ 2379 w 3471"/>
                <a:gd name="T37" fmla="*/ 1358 h 1872"/>
                <a:gd name="T38" fmla="*/ 1920 w 3471"/>
                <a:gd name="T39" fmla="*/ 1817 h 1872"/>
                <a:gd name="T40" fmla="*/ 1787 w 3471"/>
                <a:gd name="T41" fmla="*/ 1872 h 1872"/>
                <a:gd name="T42" fmla="*/ 1787 w 3471"/>
                <a:gd name="T43" fmla="*/ 1872 h 1872"/>
                <a:gd name="T44" fmla="*/ 196 w 3471"/>
                <a:gd name="T45" fmla="*/ 1857 h 1872"/>
                <a:gd name="T46" fmla="*/ 0 w 3471"/>
                <a:gd name="T47" fmla="*/ 1662 h 1872"/>
                <a:gd name="T48" fmla="*/ 0 w 3471"/>
                <a:gd name="T49" fmla="*/ 211 h 1872"/>
                <a:gd name="T50" fmla="*/ 196 w 3471"/>
                <a:gd name="T51" fmla="*/ 16 h 1872"/>
                <a:gd name="T52" fmla="*/ 1219 w 3471"/>
                <a:gd name="T53" fmla="*/ 16 h 1872"/>
                <a:gd name="T54" fmla="*/ 1390 w 3471"/>
                <a:gd name="T55" fmla="*/ 185 h 1872"/>
                <a:gd name="T56" fmla="*/ 1219 w 3471"/>
                <a:gd name="T57" fmla="*/ 354 h 1872"/>
                <a:gd name="T58" fmla="*/ 372 w 3471"/>
                <a:gd name="T59" fmla="*/ 354 h 1872"/>
                <a:gd name="T60" fmla="*/ 372 w 3471"/>
                <a:gd name="T61" fmla="*/ 1518 h 1872"/>
                <a:gd name="T62" fmla="*/ 1232 w 3471"/>
                <a:gd name="T63" fmla="*/ 1518 h 1872"/>
                <a:gd name="T64" fmla="*/ 1404 w 3471"/>
                <a:gd name="T65" fmla="*/ 1688 h 1872"/>
                <a:gd name="T66" fmla="*/ 1232 w 3471"/>
                <a:gd name="T67" fmla="*/ 1857 h 1872"/>
                <a:gd name="T68" fmla="*/ 196 w 3471"/>
                <a:gd name="T69" fmla="*/ 1857 h 1872"/>
                <a:gd name="T70" fmla="*/ 590 w 3471"/>
                <a:gd name="T71" fmla="*/ 1099 h 1872"/>
                <a:gd name="T72" fmla="*/ 590 w 3471"/>
                <a:gd name="T73" fmla="*/ 761 h 1872"/>
                <a:gd name="T74" fmla="*/ 1628 w 3471"/>
                <a:gd name="T75" fmla="*/ 761 h 1872"/>
                <a:gd name="T76" fmla="*/ 1800 w 3471"/>
                <a:gd name="T77" fmla="*/ 930 h 1872"/>
                <a:gd name="T78" fmla="*/ 1628 w 3471"/>
                <a:gd name="T79" fmla="*/ 1099 h 1872"/>
                <a:gd name="T80" fmla="*/ 590 w 3471"/>
                <a:gd name="T81" fmla="*/ 1099 h 1872"/>
                <a:gd name="T82" fmla="*/ 2806 w 3471"/>
                <a:gd name="T83" fmla="*/ 831 h 1872"/>
                <a:gd name="T84" fmla="*/ 2677 w 3471"/>
                <a:gd name="T85" fmla="*/ 777 h 1872"/>
                <a:gd name="T86" fmla="*/ 2679 w 3471"/>
                <a:gd name="T87" fmla="*/ 515 h 1872"/>
                <a:gd name="T88" fmla="*/ 3137 w 3471"/>
                <a:gd name="T89" fmla="*/ 56 h 1872"/>
                <a:gd name="T90" fmla="*/ 3270 w 3471"/>
                <a:gd name="T91" fmla="*/ 0 h 1872"/>
                <a:gd name="T92" fmla="*/ 3399 w 3471"/>
                <a:gd name="T93" fmla="*/ 54 h 1872"/>
                <a:gd name="T94" fmla="*/ 3397 w 3471"/>
                <a:gd name="T95" fmla="*/ 316 h 1872"/>
                <a:gd name="T96" fmla="*/ 2939 w 3471"/>
                <a:gd name="T97" fmla="*/ 775 h 1872"/>
                <a:gd name="T98" fmla="*/ 2806 w 3471"/>
                <a:gd name="T99" fmla="*/ 831 h 1872"/>
                <a:gd name="T100" fmla="*/ 2252 w 3471"/>
                <a:gd name="T101" fmla="*/ 831 h 1872"/>
                <a:gd name="T102" fmla="*/ 2119 w 3471"/>
                <a:gd name="T103" fmla="*/ 775 h 1872"/>
                <a:gd name="T104" fmla="*/ 1660 w 3471"/>
                <a:gd name="T105" fmla="*/ 316 h 1872"/>
                <a:gd name="T106" fmla="*/ 1658 w 3471"/>
                <a:gd name="T107" fmla="*/ 54 h 1872"/>
                <a:gd name="T108" fmla="*/ 1787 w 3471"/>
                <a:gd name="T109" fmla="*/ 0 h 1872"/>
                <a:gd name="T110" fmla="*/ 1920 w 3471"/>
                <a:gd name="T111" fmla="*/ 56 h 1872"/>
                <a:gd name="T112" fmla="*/ 2379 w 3471"/>
                <a:gd name="T113" fmla="*/ 515 h 1872"/>
                <a:gd name="T114" fmla="*/ 2381 w 3471"/>
                <a:gd name="T115" fmla="*/ 777 h 1872"/>
                <a:gd name="T116" fmla="*/ 2252 w 3471"/>
                <a:gd name="T117" fmla="*/ 831 h 1872"/>
                <a:gd name="T118" fmla="*/ 2252 w 3471"/>
                <a:gd name="T119" fmla="*/ 831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71" h="1872">
                  <a:moveTo>
                    <a:pt x="3270" y="1872"/>
                  </a:moveTo>
                  <a:cubicBezTo>
                    <a:pt x="3220" y="1872"/>
                    <a:pt x="3173" y="1853"/>
                    <a:pt x="3137" y="1817"/>
                  </a:cubicBezTo>
                  <a:lnTo>
                    <a:pt x="2679" y="1358"/>
                  </a:lnTo>
                  <a:cubicBezTo>
                    <a:pt x="2606" y="1285"/>
                    <a:pt x="2605" y="1167"/>
                    <a:pt x="2677" y="1096"/>
                  </a:cubicBezTo>
                  <a:cubicBezTo>
                    <a:pt x="2711" y="1061"/>
                    <a:pt x="2757" y="1042"/>
                    <a:pt x="2806" y="1042"/>
                  </a:cubicBezTo>
                  <a:cubicBezTo>
                    <a:pt x="2856" y="1042"/>
                    <a:pt x="2903" y="1062"/>
                    <a:pt x="2939" y="1098"/>
                  </a:cubicBezTo>
                  <a:lnTo>
                    <a:pt x="3397" y="1557"/>
                  </a:lnTo>
                  <a:cubicBezTo>
                    <a:pt x="3432" y="1592"/>
                    <a:pt x="3452" y="1639"/>
                    <a:pt x="3452" y="1688"/>
                  </a:cubicBezTo>
                  <a:cubicBezTo>
                    <a:pt x="3453" y="1738"/>
                    <a:pt x="3434" y="1784"/>
                    <a:pt x="3399" y="1819"/>
                  </a:cubicBezTo>
                  <a:cubicBezTo>
                    <a:pt x="3365" y="1854"/>
                    <a:pt x="3319" y="1872"/>
                    <a:pt x="3270" y="1872"/>
                  </a:cubicBezTo>
                  <a:lnTo>
                    <a:pt x="3270" y="1872"/>
                  </a:lnTo>
                  <a:close/>
                  <a:moveTo>
                    <a:pt x="1787" y="1872"/>
                  </a:moveTo>
                  <a:cubicBezTo>
                    <a:pt x="1739" y="1872"/>
                    <a:pt x="1693" y="1854"/>
                    <a:pt x="1658" y="1819"/>
                  </a:cubicBezTo>
                  <a:cubicBezTo>
                    <a:pt x="1624" y="1784"/>
                    <a:pt x="1605" y="1738"/>
                    <a:pt x="1605" y="1688"/>
                  </a:cubicBezTo>
                  <a:cubicBezTo>
                    <a:pt x="1605" y="1639"/>
                    <a:pt x="1625" y="1592"/>
                    <a:pt x="1660" y="1557"/>
                  </a:cubicBezTo>
                  <a:lnTo>
                    <a:pt x="2119" y="1098"/>
                  </a:lnTo>
                  <a:cubicBezTo>
                    <a:pt x="2154" y="1062"/>
                    <a:pt x="2202" y="1042"/>
                    <a:pt x="2252" y="1042"/>
                  </a:cubicBezTo>
                  <a:cubicBezTo>
                    <a:pt x="2300" y="1042"/>
                    <a:pt x="2346" y="1061"/>
                    <a:pt x="2381" y="1096"/>
                  </a:cubicBezTo>
                  <a:cubicBezTo>
                    <a:pt x="2452" y="1167"/>
                    <a:pt x="2451" y="1285"/>
                    <a:pt x="2379" y="1358"/>
                  </a:cubicBezTo>
                  <a:lnTo>
                    <a:pt x="1920" y="1817"/>
                  </a:lnTo>
                  <a:cubicBezTo>
                    <a:pt x="1885" y="1853"/>
                    <a:pt x="1837" y="1872"/>
                    <a:pt x="1787" y="1872"/>
                  </a:cubicBezTo>
                  <a:cubicBezTo>
                    <a:pt x="1787" y="1872"/>
                    <a:pt x="1787" y="1872"/>
                    <a:pt x="1787" y="1872"/>
                  </a:cubicBezTo>
                  <a:close/>
                  <a:moveTo>
                    <a:pt x="196" y="1857"/>
                  </a:moveTo>
                  <a:cubicBezTo>
                    <a:pt x="87" y="1857"/>
                    <a:pt x="0" y="1771"/>
                    <a:pt x="0" y="1662"/>
                  </a:cubicBezTo>
                  <a:lnTo>
                    <a:pt x="0" y="211"/>
                  </a:lnTo>
                  <a:cubicBezTo>
                    <a:pt x="0" y="102"/>
                    <a:pt x="87" y="16"/>
                    <a:pt x="196" y="16"/>
                  </a:cubicBezTo>
                  <a:lnTo>
                    <a:pt x="1219" y="16"/>
                  </a:lnTo>
                  <a:cubicBezTo>
                    <a:pt x="1313" y="16"/>
                    <a:pt x="1390" y="92"/>
                    <a:pt x="1390" y="185"/>
                  </a:cubicBezTo>
                  <a:cubicBezTo>
                    <a:pt x="1390" y="278"/>
                    <a:pt x="1313" y="354"/>
                    <a:pt x="1219" y="354"/>
                  </a:cubicBezTo>
                  <a:lnTo>
                    <a:pt x="372" y="354"/>
                  </a:lnTo>
                  <a:lnTo>
                    <a:pt x="372" y="1518"/>
                  </a:lnTo>
                  <a:lnTo>
                    <a:pt x="1232" y="1518"/>
                  </a:lnTo>
                  <a:cubicBezTo>
                    <a:pt x="1327" y="1518"/>
                    <a:pt x="1404" y="1594"/>
                    <a:pt x="1404" y="1688"/>
                  </a:cubicBezTo>
                  <a:cubicBezTo>
                    <a:pt x="1404" y="1781"/>
                    <a:pt x="1327" y="1857"/>
                    <a:pt x="1232" y="1857"/>
                  </a:cubicBezTo>
                  <a:lnTo>
                    <a:pt x="196" y="1857"/>
                  </a:lnTo>
                  <a:close/>
                  <a:moveTo>
                    <a:pt x="590" y="1099"/>
                  </a:moveTo>
                  <a:lnTo>
                    <a:pt x="590" y="761"/>
                  </a:lnTo>
                  <a:lnTo>
                    <a:pt x="1628" y="761"/>
                  </a:lnTo>
                  <a:cubicBezTo>
                    <a:pt x="1723" y="761"/>
                    <a:pt x="1800" y="837"/>
                    <a:pt x="1800" y="930"/>
                  </a:cubicBezTo>
                  <a:cubicBezTo>
                    <a:pt x="1800" y="1023"/>
                    <a:pt x="1723" y="1099"/>
                    <a:pt x="1628" y="1099"/>
                  </a:cubicBezTo>
                  <a:lnTo>
                    <a:pt x="590" y="1099"/>
                  </a:lnTo>
                  <a:close/>
                  <a:moveTo>
                    <a:pt x="2806" y="831"/>
                  </a:moveTo>
                  <a:cubicBezTo>
                    <a:pt x="2757" y="831"/>
                    <a:pt x="2711" y="812"/>
                    <a:pt x="2677" y="777"/>
                  </a:cubicBezTo>
                  <a:cubicBezTo>
                    <a:pt x="2605" y="706"/>
                    <a:pt x="2606" y="588"/>
                    <a:pt x="2679" y="515"/>
                  </a:cubicBezTo>
                  <a:lnTo>
                    <a:pt x="3137" y="56"/>
                  </a:lnTo>
                  <a:cubicBezTo>
                    <a:pt x="3173" y="20"/>
                    <a:pt x="3220" y="0"/>
                    <a:pt x="3270" y="0"/>
                  </a:cubicBezTo>
                  <a:cubicBezTo>
                    <a:pt x="3319" y="0"/>
                    <a:pt x="3365" y="19"/>
                    <a:pt x="3399" y="54"/>
                  </a:cubicBezTo>
                  <a:cubicBezTo>
                    <a:pt x="3471" y="126"/>
                    <a:pt x="3470" y="243"/>
                    <a:pt x="3397" y="316"/>
                  </a:cubicBezTo>
                  <a:lnTo>
                    <a:pt x="2939" y="775"/>
                  </a:lnTo>
                  <a:cubicBezTo>
                    <a:pt x="2903" y="811"/>
                    <a:pt x="2856" y="831"/>
                    <a:pt x="2806" y="831"/>
                  </a:cubicBezTo>
                  <a:close/>
                  <a:moveTo>
                    <a:pt x="2252" y="831"/>
                  </a:moveTo>
                  <a:cubicBezTo>
                    <a:pt x="2202" y="831"/>
                    <a:pt x="2154" y="811"/>
                    <a:pt x="2119" y="775"/>
                  </a:cubicBezTo>
                  <a:lnTo>
                    <a:pt x="1660" y="316"/>
                  </a:lnTo>
                  <a:cubicBezTo>
                    <a:pt x="1588" y="243"/>
                    <a:pt x="1587" y="126"/>
                    <a:pt x="1658" y="54"/>
                  </a:cubicBezTo>
                  <a:cubicBezTo>
                    <a:pt x="1693" y="19"/>
                    <a:pt x="1739" y="0"/>
                    <a:pt x="1787" y="0"/>
                  </a:cubicBezTo>
                  <a:cubicBezTo>
                    <a:pt x="1837" y="0"/>
                    <a:pt x="1885" y="20"/>
                    <a:pt x="1920" y="56"/>
                  </a:cubicBezTo>
                  <a:lnTo>
                    <a:pt x="2379" y="515"/>
                  </a:lnTo>
                  <a:cubicBezTo>
                    <a:pt x="2451" y="588"/>
                    <a:pt x="2452" y="706"/>
                    <a:pt x="2381" y="777"/>
                  </a:cubicBezTo>
                  <a:cubicBezTo>
                    <a:pt x="2346" y="812"/>
                    <a:pt x="2300" y="831"/>
                    <a:pt x="2252" y="831"/>
                  </a:cubicBezTo>
                  <a:lnTo>
                    <a:pt x="2252" y="831"/>
                  </a:lnTo>
                  <a:close/>
                </a:path>
              </a:pathLst>
            </a:custGeom>
            <a:solidFill>
              <a:srgbClr val="20175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US" dirty="0"/>
            </a:p>
          </p:txBody>
        </p:sp>
      </p:grpSp>
    </p:spTree>
    <p:extLst>
      <p:ext uri="{BB962C8B-B14F-4D97-AF65-F5344CB8AC3E}">
        <p14:creationId xmlns:p14="http://schemas.microsoft.com/office/powerpoint/2010/main" val="30580249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clean">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p:custDataLst>
              <p:tags r:id="rId2"/>
            </p:custDataLst>
            <p:extLst>
              <p:ext uri="{D42A27DB-BD31-4B8C-83A1-F6EECF244321}">
                <p14:modId xmlns:p14="http://schemas.microsoft.com/office/powerpoint/2010/main" val="4280055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29" name="think-cell Folie" r:id="rId5" imgW="286" imgH="286" progId="TCLayout.ActiveDocument.1">
                  <p:embed/>
                </p:oleObj>
              </mc:Choice>
              <mc:Fallback>
                <p:oleObj name="think-cell Foli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US" sz="3000" b="1" i="0" baseline="0"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vert="horz" anchor="t" anchorCtr="0"/>
          <a:lstStyle>
            <a:lvl1pPr algn="l" rtl="0">
              <a:lnSpc>
                <a:spcPct val="100000"/>
              </a:lnSpc>
              <a:spcBef>
                <a:spcPts val="0"/>
              </a:spcBef>
              <a:defRPr sz="4300" b="1">
                <a:solidFill>
                  <a:schemeClr val="tx1"/>
                </a:solidFill>
              </a:defRPr>
            </a:lvl1pPr>
          </a:lstStyle>
          <a:p>
            <a:r>
              <a:rPr lang="en-US" noProof="0" dirty="0"/>
              <a:t>Presentation </a:t>
            </a:r>
            <a:br>
              <a:rPr lang="en-US" noProof="0" dirty="0"/>
            </a:br>
            <a:r>
              <a:rPr lang="en-US" noProof="0" dirty="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rtl="0">
              <a:lnSpc>
                <a:spcPct val="100000"/>
              </a:lnSpc>
              <a:spcBef>
                <a:spcPts val="0"/>
              </a:spcBef>
              <a:spcAft>
                <a:spcPts val="0"/>
              </a:spcAft>
              <a:buNone/>
              <a:defRPr sz="2400">
                <a:solidFill>
                  <a:schemeClr val="tx2"/>
                </a:solidFill>
                <a:latin typeface="+mn-lt"/>
                <a:cs typeface="Abadi MT Condensed Extra Bold"/>
              </a:defRPr>
            </a:lvl1pPr>
            <a:lvl2pPr marL="0" indent="0" algn="l">
              <a:lnSpc>
                <a:spcPct val="100000"/>
              </a:lnSpc>
              <a:spcAft>
                <a:spcPts val="0"/>
              </a:spcAft>
              <a:buNone/>
              <a:defRPr sz="2400">
                <a:solidFill>
                  <a:schemeClr val="tx2"/>
                </a:solidFill>
              </a:defRPr>
            </a:lvl2pPr>
            <a:lvl3pPr marL="0" indent="0" algn="l">
              <a:lnSpc>
                <a:spcPct val="100000"/>
              </a:lnSpc>
              <a:spcAft>
                <a:spcPts val="0"/>
              </a:spcAft>
              <a:buNone/>
              <a:defRPr sz="2400">
                <a:solidFill>
                  <a:schemeClr val="tx2"/>
                </a:solidFill>
              </a:defRPr>
            </a:lvl3pPr>
            <a:lvl4pPr marL="0" indent="0" algn="l">
              <a:lnSpc>
                <a:spcPct val="100000"/>
              </a:lnSpc>
              <a:spcAft>
                <a:spcPts val="0"/>
              </a:spcAft>
              <a:buNone/>
              <a:defRPr sz="2400">
                <a:solidFill>
                  <a:schemeClr val="tx2"/>
                </a:solidFill>
              </a:defRPr>
            </a:lvl4pPr>
            <a:lvl5pPr marL="0" indent="0" algn="l">
              <a:lnSpc>
                <a:spcPct val="100000"/>
              </a:lnSpc>
              <a:spcAft>
                <a:spcPts val="0"/>
              </a:spcAft>
              <a:buNone/>
              <a:defRPr sz="2400">
                <a:solidFill>
                  <a:schemeClr val="tx2"/>
                </a:solidFill>
              </a:defRPr>
            </a:lvl5pPr>
            <a:lvl6pPr marL="0" indent="0" algn="l">
              <a:lnSpc>
                <a:spcPct val="100000"/>
              </a:lnSpc>
              <a:spcAft>
                <a:spcPts val="0"/>
              </a:spcAft>
              <a:buNone/>
              <a:defRPr sz="2400">
                <a:solidFill>
                  <a:schemeClr val="tx2"/>
                </a:solidFill>
              </a:defRPr>
            </a:lvl6pPr>
            <a:lvl7pPr marL="0" indent="0" algn="l">
              <a:lnSpc>
                <a:spcPct val="100000"/>
              </a:lnSpc>
              <a:spcAft>
                <a:spcPts val="0"/>
              </a:spcAft>
              <a:buNone/>
              <a:defRPr sz="2400">
                <a:solidFill>
                  <a:schemeClr val="tx2"/>
                </a:solidFill>
              </a:defRPr>
            </a:lvl7pPr>
            <a:lvl8pPr marL="0" indent="0" algn="l">
              <a:lnSpc>
                <a:spcPct val="100000"/>
              </a:lnSpc>
              <a:spcAft>
                <a:spcPts val="0"/>
              </a:spcAft>
              <a:buNone/>
              <a:defRPr sz="2400">
                <a:solidFill>
                  <a:schemeClr val="tx2"/>
                </a:solidFill>
              </a:defRPr>
            </a:lvl8pPr>
            <a:lvl9pPr marL="0" indent="0" algn="l">
              <a:lnSpc>
                <a:spcPct val="100000"/>
              </a:lnSpc>
              <a:spcAft>
                <a:spcPts val="0"/>
              </a:spcAft>
              <a:buNone/>
              <a:defRPr sz="2400">
                <a:solidFill>
                  <a:schemeClr val="tx2"/>
                </a:solidFill>
              </a:defRPr>
            </a:lvl9pPr>
          </a:lstStyle>
          <a:p>
            <a:r>
              <a:rPr lang="en-US" noProof="0" dirty="0"/>
              <a:t>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gray">
          <a:xfrm>
            <a:off x="586817" y="4689140"/>
            <a:ext cx="3529571" cy="288032"/>
          </a:xfrm>
        </p:spPr>
        <p:txBody>
          <a:bodyPr anchor="t"/>
          <a:lstStyle>
            <a:lvl1pPr marL="0" indent="0" algn="l" rtl="0">
              <a:lnSpc>
                <a:spcPct val="100000"/>
              </a:lnSpc>
              <a:spcBef>
                <a:spcPts val="0"/>
              </a:spcBef>
              <a:spcAft>
                <a:spcPts val="0"/>
              </a:spcAft>
              <a:buFontTx/>
              <a:buNone/>
              <a:defRPr sz="1400"/>
            </a:lvl1pPr>
            <a:lvl2pPr marL="0" indent="0">
              <a:lnSpc>
                <a:spcPct val="100000"/>
              </a:lnSpc>
              <a:spcBef>
                <a:spcPts val="0"/>
              </a:spcBef>
              <a:spcAft>
                <a:spcPts val="0"/>
              </a:spcAft>
              <a:buFontTx/>
              <a:buNone/>
              <a:defRPr sz="1400"/>
            </a:lvl2pPr>
            <a:lvl3pPr marL="0" indent="0">
              <a:lnSpc>
                <a:spcPct val="100000"/>
              </a:lnSpc>
              <a:spcBef>
                <a:spcPts val="0"/>
              </a:spcBef>
              <a:spcAft>
                <a:spcPts val="0"/>
              </a:spcAft>
              <a:buFontTx/>
              <a:buNone/>
              <a:defRPr sz="1400"/>
            </a:lvl3pPr>
            <a:lvl4pPr marL="0" indent="0">
              <a:lnSpc>
                <a:spcPct val="100000"/>
              </a:lnSpc>
              <a:spcBef>
                <a:spcPts val="0"/>
              </a:spcBef>
              <a:spcAft>
                <a:spcPts val="0"/>
              </a:spcAft>
              <a:buFontTx/>
              <a:buNone/>
              <a:defRPr sz="1400"/>
            </a:lvl4pPr>
            <a:lvl5pPr marL="0" indent="0">
              <a:lnSpc>
                <a:spcPct val="100000"/>
              </a:lnSpc>
              <a:spcBef>
                <a:spcPts val="0"/>
              </a:spcBef>
              <a:spcAft>
                <a:spcPts val="0"/>
              </a:spcAft>
              <a:buFontTx/>
              <a:buNone/>
              <a:defRPr sz="1400"/>
            </a:lvl5pPr>
            <a:lvl6pPr marL="0" indent="0">
              <a:lnSpc>
                <a:spcPct val="100000"/>
              </a:lnSpc>
              <a:spcBef>
                <a:spcPts val="0"/>
              </a:spcBef>
              <a:spcAft>
                <a:spcPts val="0"/>
              </a:spcAft>
              <a:buFontTx/>
              <a:buNone/>
              <a:defRPr sz="1400"/>
            </a:lvl6pPr>
            <a:lvl7pPr marL="0" indent="0">
              <a:lnSpc>
                <a:spcPct val="100000"/>
              </a:lnSpc>
              <a:spcBef>
                <a:spcPts val="0"/>
              </a:spcBef>
              <a:spcAft>
                <a:spcPts val="0"/>
              </a:spcAft>
              <a:buFontTx/>
              <a:buNone/>
              <a:defRPr sz="1400"/>
            </a:lvl7pPr>
            <a:lvl8pPr marL="0" indent="0">
              <a:lnSpc>
                <a:spcPct val="100000"/>
              </a:lnSpc>
              <a:spcBef>
                <a:spcPts val="0"/>
              </a:spcBef>
              <a:spcAft>
                <a:spcPts val="0"/>
              </a:spcAft>
              <a:buFontTx/>
              <a:buNone/>
              <a:defRPr sz="1400"/>
            </a:lvl8pPr>
            <a:lvl9pPr marL="0" indent="0">
              <a:lnSpc>
                <a:spcPct val="100000"/>
              </a:lnSpc>
              <a:spcBef>
                <a:spcPts val="0"/>
              </a:spcBef>
              <a:spcAft>
                <a:spcPts val="0"/>
              </a:spcAft>
              <a:buFontTx/>
              <a:buNone/>
              <a:defRPr sz="1400"/>
            </a:lvl9pPr>
          </a:lstStyle>
          <a:p>
            <a:pPr>
              <a:buFont typeface="Arial" panose="020B0604020202020204" pitchFamily="34" charset="0"/>
              <a:buNone/>
            </a:pPr>
            <a:fld id="{5E9B4CFA-EC95-4156-9974-0E5C44761D02}" type="datetime1">
              <a:rPr lang="en-US"/>
              <a:t>1/16/2022</a:t>
            </a:fld>
            <a:endParaRPr lang="en-US" dirty="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bwMode="gray">
          <a:xfrm>
            <a:off x="601200" y="476936"/>
            <a:ext cx="3638169" cy="329870"/>
          </a:xfrm>
          <a:prstGeom prst="rect">
            <a:avLst/>
          </a:prstGeom>
        </p:spPr>
      </p:pic>
      <p:grpSp>
        <p:nvGrpSpPr>
          <p:cNvPr id="9" name="Gruppieren 8">
            <a:extLst>
              <a:ext uri="{FF2B5EF4-FFF2-40B4-BE49-F238E27FC236}">
                <a16:creationId xmlns:a16="http://schemas.microsoft.com/office/drawing/2014/main" id="{293716A6-53FD-48FB-B41B-CF445F3B7DC3}"/>
              </a:ext>
            </a:extLst>
          </p:cNvPr>
          <p:cNvGrpSpPr/>
          <p:nvPr/>
        </p:nvGrpSpPr>
        <p:grpSpPr bwMode="gray">
          <a:xfrm>
            <a:off x="10804526" y="1"/>
            <a:ext cx="809625" cy="1135063"/>
            <a:chOff x="10804526" y="1"/>
            <a:chExt cx="809625" cy="1135063"/>
          </a:xfrm>
        </p:grpSpPr>
        <p:sp>
          <p:nvSpPr>
            <p:cNvPr id="10" name="Freihandform: Form 9">
              <a:extLst>
                <a:ext uri="{FF2B5EF4-FFF2-40B4-BE49-F238E27FC236}">
                  <a16:creationId xmlns:a16="http://schemas.microsoft.com/office/drawing/2014/main" id="{9189ABA5-48A6-4290-A595-0289C27EBF36}"/>
                </a:ext>
              </a:extLst>
            </p:cNvPr>
            <p:cNvSpPr/>
            <p:nvPr userDrawn="1"/>
          </p:nvSpPr>
          <p:spPr bwMode="gray">
            <a:xfrm>
              <a:off x="10804526" y="1"/>
              <a:ext cx="809625" cy="1135063"/>
            </a:xfrm>
            <a:custGeom>
              <a:avLst/>
              <a:gdLst>
                <a:gd name="connsiteX0" fmla="*/ 0 w 809625"/>
                <a:gd name="connsiteY0" fmla="*/ 0 h 1135063"/>
                <a:gd name="connsiteX1" fmla="*/ 809625 w 809625"/>
                <a:gd name="connsiteY1" fmla="*/ 0 h 1135063"/>
                <a:gd name="connsiteX2" fmla="*/ 809625 w 809625"/>
                <a:gd name="connsiteY2" fmla="*/ 730422 h 1135063"/>
                <a:gd name="connsiteX3" fmla="*/ 404813 w 809625"/>
                <a:gd name="connsiteY3" fmla="*/ 1135063 h 1135063"/>
                <a:gd name="connsiteX4" fmla="*/ 0 w 809625"/>
                <a:gd name="connsiteY4" fmla="*/ 730422 h 1135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1135063">
                  <a:moveTo>
                    <a:pt x="0" y="0"/>
                  </a:moveTo>
                  <a:lnTo>
                    <a:pt x="809625" y="0"/>
                  </a:lnTo>
                  <a:lnTo>
                    <a:pt x="809625" y="730422"/>
                  </a:lnTo>
                  <a:cubicBezTo>
                    <a:pt x="809625" y="953908"/>
                    <a:pt x="628489" y="1135063"/>
                    <a:pt x="404813" y="1135063"/>
                  </a:cubicBezTo>
                  <a:cubicBezTo>
                    <a:pt x="181308" y="1135063"/>
                    <a:pt x="0" y="953908"/>
                    <a:pt x="0" y="730422"/>
                  </a:cubicBezTo>
                  <a:close/>
                </a:path>
              </a:pathLst>
            </a:custGeom>
            <a:solidFill>
              <a:srgbClr val="20175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bIns="79200" rtlCol="0" anchor="ctr">
              <a:noAutofit/>
            </a:bodyPr>
            <a:lstStyle/>
            <a:p>
              <a:pPr algn="ctr" rtl="0"/>
              <a:endParaRPr lang="en-US" sz="1400" dirty="0"/>
            </a:p>
          </p:txBody>
        </p:sp>
        <p:sp>
          <p:nvSpPr>
            <p:cNvPr id="11" name="Freeform 17">
              <a:extLst>
                <a:ext uri="{FF2B5EF4-FFF2-40B4-BE49-F238E27FC236}">
                  <a16:creationId xmlns:a16="http://schemas.microsoft.com/office/drawing/2014/main" id="{4BD8CCE5-8E09-428F-82FE-A1E8240CA1CC}"/>
                </a:ext>
              </a:extLst>
            </p:cNvPr>
            <p:cNvSpPr>
              <a:spLocks noEditPoints="1"/>
            </p:cNvSpPr>
            <p:nvPr userDrawn="1"/>
          </p:nvSpPr>
          <p:spPr bwMode="gray">
            <a:xfrm>
              <a:off x="10929938" y="487363"/>
              <a:ext cx="595313" cy="320675"/>
            </a:xfrm>
            <a:custGeom>
              <a:avLst/>
              <a:gdLst>
                <a:gd name="T0" fmla="*/ 3270 w 3471"/>
                <a:gd name="T1" fmla="*/ 1872 h 1872"/>
                <a:gd name="T2" fmla="*/ 3137 w 3471"/>
                <a:gd name="T3" fmla="*/ 1817 h 1872"/>
                <a:gd name="T4" fmla="*/ 2679 w 3471"/>
                <a:gd name="T5" fmla="*/ 1358 h 1872"/>
                <a:gd name="T6" fmla="*/ 2677 w 3471"/>
                <a:gd name="T7" fmla="*/ 1096 h 1872"/>
                <a:gd name="T8" fmla="*/ 2806 w 3471"/>
                <a:gd name="T9" fmla="*/ 1042 h 1872"/>
                <a:gd name="T10" fmla="*/ 2939 w 3471"/>
                <a:gd name="T11" fmla="*/ 1098 h 1872"/>
                <a:gd name="T12" fmla="*/ 3397 w 3471"/>
                <a:gd name="T13" fmla="*/ 1557 h 1872"/>
                <a:gd name="T14" fmla="*/ 3452 w 3471"/>
                <a:gd name="T15" fmla="*/ 1688 h 1872"/>
                <a:gd name="T16" fmla="*/ 3399 w 3471"/>
                <a:gd name="T17" fmla="*/ 1819 h 1872"/>
                <a:gd name="T18" fmla="*/ 3270 w 3471"/>
                <a:gd name="T19" fmla="*/ 1872 h 1872"/>
                <a:gd name="T20" fmla="*/ 3270 w 3471"/>
                <a:gd name="T21" fmla="*/ 1872 h 1872"/>
                <a:gd name="T22" fmla="*/ 1787 w 3471"/>
                <a:gd name="T23" fmla="*/ 1872 h 1872"/>
                <a:gd name="T24" fmla="*/ 1658 w 3471"/>
                <a:gd name="T25" fmla="*/ 1819 h 1872"/>
                <a:gd name="T26" fmla="*/ 1605 w 3471"/>
                <a:gd name="T27" fmla="*/ 1688 h 1872"/>
                <a:gd name="T28" fmla="*/ 1660 w 3471"/>
                <a:gd name="T29" fmla="*/ 1557 h 1872"/>
                <a:gd name="T30" fmla="*/ 2119 w 3471"/>
                <a:gd name="T31" fmla="*/ 1098 h 1872"/>
                <a:gd name="T32" fmla="*/ 2252 w 3471"/>
                <a:gd name="T33" fmla="*/ 1042 h 1872"/>
                <a:gd name="T34" fmla="*/ 2381 w 3471"/>
                <a:gd name="T35" fmla="*/ 1096 h 1872"/>
                <a:gd name="T36" fmla="*/ 2379 w 3471"/>
                <a:gd name="T37" fmla="*/ 1358 h 1872"/>
                <a:gd name="T38" fmla="*/ 1920 w 3471"/>
                <a:gd name="T39" fmla="*/ 1817 h 1872"/>
                <a:gd name="T40" fmla="*/ 1787 w 3471"/>
                <a:gd name="T41" fmla="*/ 1872 h 1872"/>
                <a:gd name="T42" fmla="*/ 1787 w 3471"/>
                <a:gd name="T43" fmla="*/ 1872 h 1872"/>
                <a:gd name="T44" fmla="*/ 196 w 3471"/>
                <a:gd name="T45" fmla="*/ 1857 h 1872"/>
                <a:gd name="T46" fmla="*/ 0 w 3471"/>
                <a:gd name="T47" fmla="*/ 1662 h 1872"/>
                <a:gd name="T48" fmla="*/ 0 w 3471"/>
                <a:gd name="T49" fmla="*/ 211 h 1872"/>
                <a:gd name="T50" fmla="*/ 196 w 3471"/>
                <a:gd name="T51" fmla="*/ 16 h 1872"/>
                <a:gd name="T52" fmla="*/ 1219 w 3471"/>
                <a:gd name="T53" fmla="*/ 16 h 1872"/>
                <a:gd name="T54" fmla="*/ 1390 w 3471"/>
                <a:gd name="T55" fmla="*/ 185 h 1872"/>
                <a:gd name="T56" fmla="*/ 1219 w 3471"/>
                <a:gd name="T57" fmla="*/ 354 h 1872"/>
                <a:gd name="T58" fmla="*/ 372 w 3471"/>
                <a:gd name="T59" fmla="*/ 354 h 1872"/>
                <a:gd name="T60" fmla="*/ 372 w 3471"/>
                <a:gd name="T61" fmla="*/ 1518 h 1872"/>
                <a:gd name="T62" fmla="*/ 1232 w 3471"/>
                <a:gd name="T63" fmla="*/ 1518 h 1872"/>
                <a:gd name="T64" fmla="*/ 1404 w 3471"/>
                <a:gd name="T65" fmla="*/ 1688 h 1872"/>
                <a:gd name="T66" fmla="*/ 1232 w 3471"/>
                <a:gd name="T67" fmla="*/ 1857 h 1872"/>
                <a:gd name="T68" fmla="*/ 196 w 3471"/>
                <a:gd name="T69" fmla="*/ 1857 h 1872"/>
                <a:gd name="T70" fmla="*/ 590 w 3471"/>
                <a:gd name="T71" fmla="*/ 1099 h 1872"/>
                <a:gd name="T72" fmla="*/ 590 w 3471"/>
                <a:gd name="T73" fmla="*/ 761 h 1872"/>
                <a:gd name="T74" fmla="*/ 1628 w 3471"/>
                <a:gd name="T75" fmla="*/ 761 h 1872"/>
                <a:gd name="T76" fmla="*/ 1800 w 3471"/>
                <a:gd name="T77" fmla="*/ 930 h 1872"/>
                <a:gd name="T78" fmla="*/ 1628 w 3471"/>
                <a:gd name="T79" fmla="*/ 1099 h 1872"/>
                <a:gd name="T80" fmla="*/ 590 w 3471"/>
                <a:gd name="T81" fmla="*/ 1099 h 1872"/>
                <a:gd name="T82" fmla="*/ 2806 w 3471"/>
                <a:gd name="T83" fmla="*/ 831 h 1872"/>
                <a:gd name="T84" fmla="*/ 2677 w 3471"/>
                <a:gd name="T85" fmla="*/ 777 h 1872"/>
                <a:gd name="T86" fmla="*/ 2679 w 3471"/>
                <a:gd name="T87" fmla="*/ 515 h 1872"/>
                <a:gd name="T88" fmla="*/ 3137 w 3471"/>
                <a:gd name="T89" fmla="*/ 56 h 1872"/>
                <a:gd name="T90" fmla="*/ 3270 w 3471"/>
                <a:gd name="T91" fmla="*/ 0 h 1872"/>
                <a:gd name="T92" fmla="*/ 3399 w 3471"/>
                <a:gd name="T93" fmla="*/ 54 h 1872"/>
                <a:gd name="T94" fmla="*/ 3397 w 3471"/>
                <a:gd name="T95" fmla="*/ 316 h 1872"/>
                <a:gd name="T96" fmla="*/ 2939 w 3471"/>
                <a:gd name="T97" fmla="*/ 775 h 1872"/>
                <a:gd name="T98" fmla="*/ 2806 w 3471"/>
                <a:gd name="T99" fmla="*/ 831 h 1872"/>
                <a:gd name="T100" fmla="*/ 2252 w 3471"/>
                <a:gd name="T101" fmla="*/ 831 h 1872"/>
                <a:gd name="T102" fmla="*/ 2119 w 3471"/>
                <a:gd name="T103" fmla="*/ 775 h 1872"/>
                <a:gd name="T104" fmla="*/ 1660 w 3471"/>
                <a:gd name="T105" fmla="*/ 316 h 1872"/>
                <a:gd name="T106" fmla="*/ 1658 w 3471"/>
                <a:gd name="T107" fmla="*/ 54 h 1872"/>
                <a:gd name="T108" fmla="*/ 1787 w 3471"/>
                <a:gd name="T109" fmla="*/ 0 h 1872"/>
                <a:gd name="T110" fmla="*/ 1920 w 3471"/>
                <a:gd name="T111" fmla="*/ 56 h 1872"/>
                <a:gd name="T112" fmla="*/ 2379 w 3471"/>
                <a:gd name="T113" fmla="*/ 515 h 1872"/>
                <a:gd name="T114" fmla="*/ 2381 w 3471"/>
                <a:gd name="T115" fmla="*/ 777 h 1872"/>
                <a:gd name="T116" fmla="*/ 2252 w 3471"/>
                <a:gd name="T117" fmla="*/ 831 h 1872"/>
                <a:gd name="T118" fmla="*/ 2252 w 3471"/>
                <a:gd name="T119" fmla="*/ 831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71" h="1872">
                  <a:moveTo>
                    <a:pt x="3270" y="1872"/>
                  </a:moveTo>
                  <a:cubicBezTo>
                    <a:pt x="3220" y="1872"/>
                    <a:pt x="3173" y="1853"/>
                    <a:pt x="3137" y="1817"/>
                  </a:cubicBezTo>
                  <a:lnTo>
                    <a:pt x="2679" y="1358"/>
                  </a:lnTo>
                  <a:cubicBezTo>
                    <a:pt x="2606" y="1285"/>
                    <a:pt x="2605" y="1167"/>
                    <a:pt x="2677" y="1096"/>
                  </a:cubicBezTo>
                  <a:cubicBezTo>
                    <a:pt x="2711" y="1061"/>
                    <a:pt x="2757" y="1042"/>
                    <a:pt x="2806" y="1042"/>
                  </a:cubicBezTo>
                  <a:cubicBezTo>
                    <a:pt x="2856" y="1042"/>
                    <a:pt x="2903" y="1062"/>
                    <a:pt x="2939" y="1098"/>
                  </a:cubicBezTo>
                  <a:lnTo>
                    <a:pt x="3397" y="1557"/>
                  </a:lnTo>
                  <a:cubicBezTo>
                    <a:pt x="3432" y="1592"/>
                    <a:pt x="3452" y="1639"/>
                    <a:pt x="3452" y="1688"/>
                  </a:cubicBezTo>
                  <a:cubicBezTo>
                    <a:pt x="3453" y="1738"/>
                    <a:pt x="3434" y="1784"/>
                    <a:pt x="3399" y="1819"/>
                  </a:cubicBezTo>
                  <a:cubicBezTo>
                    <a:pt x="3365" y="1854"/>
                    <a:pt x="3319" y="1872"/>
                    <a:pt x="3270" y="1872"/>
                  </a:cubicBezTo>
                  <a:lnTo>
                    <a:pt x="3270" y="1872"/>
                  </a:lnTo>
                  <a:close/>
                  <a:moveTo>
                    <a:pt x="1787" y="1872"/>
                  </a:moveTo>
                  <a:cubicBezTo>
                    <a:pt x="1739" y="1872"/>
                    <a:pt x="1693" y="1854"/>
                    <a:pt x="1658" y="1819"/>
                  </a:cubicBezTo>
                  <a:cubicBezTo>
                    <a:pt x="1624" y="1784"/>
                    <a:pt x="1605" y="1738"/>
                    <a:pt x="1605" y="1688"/>
                  </a:cubicBezTo>
                  <a:cubicBezTo>
                    <a:pt x="1605" y="1639"/>
                    <a:pt x="1625" y="1592"/>
                    <a:pt x="1660" y="1557"/>
                  </a:cubicBezTo>
                  <a:lnTo>
                    <a:pt x="2119" y="1098"/>
                  </a:lnTo>
                  <a:cubicBezTo>
                    <a:pt x="2154" y="1062"/>
                    <a:pt x="2202" y="1042"/>
                    <a:pt x="2252" y="1042"/>
                  </a:cubicBezTo>
                  <a:cubicBezTo>
                    <a:pt x="2300" y="1042"/>
                    <a:pt x="2346" y="1061"/>
                    <a:pt x="2381" y="1096"/>
                  </a:cubicBezTo>
                  <a:cubicBezTo>
                    <a:pt x="2452" y="1167"/>
                    <a:pt x="2451" y="1285"/>
                    <a:pt x="2379" y="1358"/>
                  </a:cubicBezTo>
                  <a:lnTo>
                    <a:pt x="1920" y="1817"/>
                  </a:lnTo>
                  <a:cubicBezTo>
                    <a:pt x="1885" y="1853"/>
                    <a:pt x="1837" y="1872"/>
                    <a:pt x="1787" y="1872"/>
                  </a:cubicBezTo>
                  <a:cubicBezTo>
                    <a:pt x="1787" y="1872"/>
                    <a:pt x="1787" y="1872"/>
                    <a:pt x="1787" y="1872"/>
                  </a:cubicBezTo>
                  <a:close/>
                  <a:moveTo>
                    <a:pt x="196" y="1857"/>
                  </a:moveTo>
                  <a:cubicBezTo>
                    <a:pt x="87" y="1857"/>
                    <a:pt x="0" y="1771"/>
                    <a:pt x="0" y="1662"/>
                  </a:cubicBezTo>
                  <a:lnTo>
                    <a:pt x="0" y="211"/>
                  </a:lnTo>
                  <a:cubicBezTo>
                    <a:pt x="0" y="102"/>
                    <a:pt x="87" y="16"/>
                    <a:pt x="196" y="16"/>
                  </a:cubicBezTo>
                  <a:lnTo>
                    <a:pt x="1219" y="16"/>
                  </a:lnTo>
                  <a:cubicBezTo>
                    <a:pt x="1313" y="16"/>
                    <a:pt x="1390" y="92"/>
                    <a:pt x="1390" y="185"/>
                  </a:cubicBezTo>
                  <a:cubicBezTo>
                    <a:pt x="1390" y="278"/>
                    <a:pt x="1313" y="354"/>
                    <a:pt x="1219" y="354"/>
                  </a:cubicBezTo>
                  <a:lnTo>
                    <a:pt x="372" y="354"/>
                  </a:lnTo>
                  <a:lnTo>
                    <a:pt x="372" y="1518"/>
                  </a:lnTo>
                  <a:lnTo>
                    <a:pt x="1232" y="1518"/>
                  </a:lnTo>
                  <a:cubicBezTo>
                    <a:pt x="1327" y="1518"/>
                    <a:pt x="1404" y="1594"/>
                    <a:pt x="1404" y="1688"/>
                  </a:cubicBezTo>
                  <a:cubicBezTo>
                    <a:pt x="1404" y="1781"/>
                    <a:pt x="1327" y="1857"/>
                    <a:pt x="1232" y="1857"/>
                  </a:cubicBezTo>
                  <a:lnTo>
                    <a:pt x="196" y="1857"/>
                  </a:lnTo>
                  <a:close/>
                  <a:moveTo>
                    <a:pt x="590" y="1099"/>
                  </a:moveTo>
                  <a:lnTo>
                    <a:pt x="590" y="761"/>
                  </a:lnTo>
                  <a:lnTo>
                    <a:pt x="1628" y="761"/>
                  </a:lnTo>
                  <a:cubicBezTo>
                    <a:pt x="1723" y="761"/>
                    <a:pt x="1800" y="837"/>
                    <a:pt x="1800" y="930"/>
                  </a:cubicBezTo>
                  <a:cubicBezTo>
                    <a:pt x="1800" y="1023"/>
                    <a:pt x="1723" y="1099"/>
                    <a:pt x="1628" y="1099"/>
                  </a:cubicBezTo>
                  <a:lnTo>
                    <a:pt x="590" y="1099"/>
                  </a:lnTo>
                  <a:close/>
                  <a:moveTo>
                    <a:pt x="2806" y="831"/>
                  </a:moveTo>
                  <a:cubicBezTo>
                    <a:pt x="2757" y="831"/>
                    <a:pt x="2711" y="812"/>
                    <a:pt x="2677" y="777"/>
                  </a:cubicBezTo>
                  <a:cubicBezTo>
                    <a:pt x="2605" y="706"/>
                    <a:pt x="2606" y="588"/>
                    <a:pt x="2679" y="515"/>
                  </a:cubicBezTo>
                  <a:lnTo>
                    <a:pt x="3137" y="56"/>
                  </a:lnTo>
                  <a:cubicBezTo>
                    <a:pt x="3173" y="20"/>
                    <a:pt x="3220" y="0"/>
                    <a:pt x="3270" y="0"/>
                  </a:cubicBezTo>
                  <a:cubicBezTo>
                    <a:pt x="3319" y="0"/>
                    <a:pt x="3365" y="19"/>
                    <a:pt x="3399" y="54"/>
                  </a:cubicBezTo>
                  <a:cubicBezTo>
                    <a:pt x="3471" y="126"/>
                    <a:pt x="3470" y="243"/>
                    <a:pt x="3397" y="316"/>
                  </a:cubicBezTo>
                  <a:lnTo>
                    <a:pt x="2939" y="775"/>
                  </a:lnTo>
                  <a:cubicBezTo>
                    <a:pt x="2903" y="811"/>
                    <a:pt x="2856" y="831"/>
                    <a:pt x="2806" y="831"/>
                  </a:cubicBezTo>
                  <a:close/>
                  <a:moveTo>
                    <a:pt x="2252" y="831"/>
                  </a:moveTo>
                  <a:cubicBezTo>
                    <a:pt x="2202" y="831"/>
                    <a:pt x="2154" y="811"/>
                    <a:pt x="2119" y="775"/>
                  </a:cubicBezTo>
                  <a:lnTo>
                    <a:pt x="1660" y="316"/>
                  </a:lnTo>
                  <a:cubicBezTo>
                    <a:pt x="1588" y="243"/>
                    <a:pt x="1587" y="126"/>
                    <a:pt x="1658" y="54"/>
                  </a:cubicBezTo>
                  <a:cubicBezTo>
                    <a:pt x="1693" y="19"/>
                    <a:pt x="1739" y="0"/>
                    <a:pt x="1787" y="0"/>
                  </a:cubicBezTo>
                  <a:cubicBezTo>
                    <a:pt x="1837" y="0"/>
                    <a:pt x="1885" y="20"/>
                    <a:pt x="1920" y="56"/>
                  </a:cubicBezTo>
                  <a:lnTo>
                    <a:pt x="2379" y="515"/>
                  </a:lnTo>
                  <a:cubicBezTo>
                    <a:pt x="2451" y="588"/>
                    <a:pt x="2452" y="706"/>
                    <a:pt x="2381" y="777"/>
                  </a:cubicBezTo>
                  <a:cubicBezTo>
                    <a:pt x="2346" y="812"/>
                    <a:pt x="2300" y="831"/>
                    <a:pt x="2252" y="831"/>
                  </a:cubicBezTo>
                  <a:lnTo>
                    <a:pt x="2252" y="83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US" dirty="0"/>
            </a:p>
          </p:txBody>
        </p:sp>
      </p:grpSp>
    </p:spTree>
    <p:extLst>
      <p:ext uri="{BB962C8B-B14F-4D97-AF65-F5344CB8AC3E}">
        <p14:creationId xmlns:p14="http://schemas.microsoft.com/office/powerpoint/2010/main" val="57575062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clean | Blue">
    <p:bg bwMode="auto">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p:custDataLst>
              <p:tags r:id="rId2"/>
            </p:custDataLst>
            <p:extLst>
              <p:ext uri="{D42A27DB-BD31-4B8C-83A1-F6EECF244321}">
                <p14:modId xmlns:p14="http://schemas.microsoft.com/office/powerpoint/2010/main" val="3093858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53" name="think-cell Folie" r:id="rId5" imgW="286" imgH="286" progId="TCLayout.ActiveDocument.1">
                  <p:embed/>
                </p:oleObj>
              </mc:Choice>
              <mc:Fallback>
                <p:oleObj name="think-cell Foli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US" sz="4300" b="1" i="0" baseline="0"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8800"/>
            <a:ext cx="7272896" cy="1512168"/>
          </a:xfrm>
        </p:spPr>
        <p:txBody>
          <a:bodyPr vert="horz" anchor="t" anchorCtr="0"/>
          <a:lstStyle>
            <a:lvl1pPr algn="l" rtl="0">
              <a:lnSpc>
                <a:spcPct val="100000"/>
              </a:lnSpc>
              <a:spcBef>
                <a:spcPts val="0"/>
              </a:spcBef>
              <a:defRPr sz="4300" b="1">
                <a:solidFill>
                  <a:schemeClr val="tx1"/>
                </a:solidFill>
              </a:defRPr>
            </a:lvl1pPr>
          </a:lstStyle>
          <a:p>
            <a:r>
              <a:rPr lang="en-US" noProof="0" dirty="0"/>
              <a:t>Presentation </a:t>
            </a:r>
            <a:br>
              <a:rPr lang="en-US" noProof="0" dirty="0"/>
            </a:br>
            <a:r>
              <a:rPr lang="en-US" noProof="0" dirty="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5600"/>
            <a:ext cx="5401233" cy="720080"/>
          </a:xfrm>
        </p:spPr>
        <p:txBody>
          <a:bodyPr anchor="t" anchorCtr="0"/>
          <a:lstStyle>
            <a:lvl1pPr marL="0" indent="0" algn="l" rtl="0">
              <a:lnSpc>
                <a:spcPct val="100000"/>
              </a:lnSpc>
              <a:spcBef>
                <a:spcPts val="0"/>
              </a:spcBef>
              <a:spcAft>
                <a:spcPts val="0"/>
              </a:spcAft>
              <a:buNone/>
              <a:defRPr sz="2400">
                <a:solidFill>
                  <a:schemeClr val="bg2"/>
                </a:solidFill>
                <a:latin typeface="+mn-lt"/>
                <a:cs typeface="Abadi MT Condensed Extra Bold"/>
              </a:defRPr>
            </a:lvl1pPr>
            <a:lvl2pPr marL="0" indent="0" algn="l">
              <a:lnSpc>
                <a:spcPct val="100000"/>
              </a:lnSpc>
              <a:spcAft>
                <a:spcPts val="0"/>
              </a:spcAft>
              <a:buNone/>
              <a:defRPr sz="2400">
                <a:solidFill>
                  <a:schemeClr val="bg2"/>
                </a:solidFill>
              </a:defRPr>
            </a:lvl2pPr>
            <a:lvl3pPr marL="0" indent="0" algn="l">
              <a:lnSpc>
                <a:spcPct val="100000"/>
              </a:lnSpc>
              <a:spcAft>
                <a:spcPts val="0"/>
              </a:spcAft>
              <a:buNone/>
              <a:defRPr sz="2400">
                <a:solidFill>
                  <a:schemeClr val="bg2"/>
                </a:solidFill>
              </a:defRPr>
            </a:lvl3pPr>
            <a:lvl4pPr marL="0" indent="0" algn="l">
              <a:lnSpc>
                <a:spcPct val="100000"/>
              </a:lnSpc>
              <a:spcAft>
                <a:spcPts val="0"/>
              </a:spcAft>
              <a:buNone/>
              <a:defRPr sz="2400">
                <a:solidFill>
                  <a:schemeClr val="bg2"/>
                </a:solidFill>
              </a:defRPr>
            </a:lvl4pPr>
            <a:lvl5pPr marL="0" indent="0" algn="l">
              <a:lnSpc>
                <a:spcPct val="100000"/>
              </a:lnSpc>
              <a:spcAft>
                <a:spcPts val="0"/>
              </a:spcAft>
              <a:buNone/>
              <a:defRPr sz="2400">
                <a:solidFill>
                  <a:schemeClr val="bg2"/>
                </a:solidFill>
              </a:defRPr>
            </a:lvl5pPr>
            <a:lvl6pPr marL="0" indent="0" algn="l">
              <a:lnSpc>
                <a:spcPct val="100000"/>
              </a:lnSpc>
              <a:spcAft>
                <a:spcPts val="0"/>
              </a:spcAft>
              <a:buNone/>
              <a:defRPr sz="2400">
                <a:solidFill>
                  <a:schemeClr val="bg2"/>
                </a:solidFill>
              </a:defRPr>
            </a:lvl6pPr>
            <a:lvl7pPr marL="0" indent="0" algn="l">
              <a:lnSpc>
                <a:spcPct val="100000"/>
              </a:lnSpc>
              <a:spcAft>
                <a:spcPts val="0"/>
              </a:spcAft>
              <a:buNone/>
              <a:defRPr sz="2400">
                <a:solidFill>
                  <a:schemeClr val="bg2"/>
                </a:solidFill>
              </a:defRPr>
            </a:lvl7pPr>
            <a:lvl8pPr marL="0" indent="0" algn="l">
              <a:lnSpc>
                <a:spcPct val="100000"/>
              </a:lnSpc>
              <a:spcAft>
                <a:spcPts val="0"/>
              </a:spcAft>
              <a:buNone/>
              <a:defRPr sz="2400">
                <a:solidFill>
                  <a:schemeClr val="bg2"/>
                </a:solidFill>
              </a:defRPr>
            </a:lvl8pPr>
            <a:lvl9pPr marL="0" indent="0" algn="l">
              <a:lnSpc>
                <a:spcPct val="100000"/>
              </a:lnSpc>
              <a:spcAft>
                <a:spcPts val="0"/>
              </a:spcAft>
              <a:buNone/>
              <a:defRPr sz="2400">
                <a:solidFill>
                  <a:schemeClr val="bg2"/>
                </a:solidFill>
              </a:defRPr>
            </a:lvl9pPr>
          </a:lstStyle>
          <a:p>
            <a:r>
              <a:rPr lang="en-US" noProof="0" dirty="0"/>
              <a:t>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gray">
          <a:xfrm>
            <a:off x="586817" y="4689140"/>
            <a:ext cx="3529571" cy="288032"/>
          </a:xfrm>
        </p:spPr>
        <p:txBody>
          <a:bodyPr anchor="t"/>
          <a:lstStyle>
            <a:lvl1pPr marL="0" indent="0" algn="l" rtl="0">
              <a:lnSpc>
                <a:spcPct val="100000"/>
              </a:lnSpc>
              <a:spcBef>
                <a:spcPts val="0"/>
              </a:spcBef>
              <a:spcAft>
                <a:spcPts val="0"/>
              </a:spcAft>
              <a:buFontTx/>
              <a:buNone/>
              <a:defRPr sz="1400">
                <a:solidFill>
                  <a:schemeClr val="tx1"/>
                </a:solidFill>
              </a:defRPr>
            </a:lvl1pPr>
            <a:lvl2pPr marL="0" indent="0">
              <a:lnSpc>
                <a:spcPct val="100000"/>
              </a:lnSpc>
              <a:spcBef>
                <a:spcPts val="0"/>
              </a:spcBef>
              <a:spcAft>
                <a:spcPts val="0"/>
              </a:spcAft>
              <a:buFontTx/>
              <a:buNone/>
              <a:defRPr sz="1400"/>
            </a:lvl2pPr>
            <a:lvl3pPr marL="0" indent="0">
              <a:lnSpc>
                <a:spcPct val="100000"/>
              </a:lnSpc>
              <a:spcBef>
                <a:spcPts val="0"/>
              </a:spcBef>
              <a:spcAft>
                <a:spcPts val="0"/>
              </a:spcAft>
              <a:buFontTx/>
              <a:buNone/>
              <a:defRPr sz="1400"/>
            </a:lvl3pPr>
            <a:lvl4pPr marL="0" indent="0">
              <a:lnSpc>
                <a:spcPct val="100000"/>
              </a:lnSpc>
              <a:spcBef>
                <a:spcPts val="0"/>
              </a:spcBef>
              <a:spcAft>
                <a:spcPts val="0"/>
              </a:spcAft>
              <a:buFontTx/>
              <a:buNone/>
              <a:defRPr sz="1400"/>
            </a:lvl4pPr>
            <a:lvl5pPr marL="0" indent="0">
              <a:lnSpc>
                <a:spcPct val="100000"/>
              </a:lnSpc>
              <a:spcBef>
                <a:spcPts val="0"/>
              </a:spcBef>
              <a:spcAft>
                <a:spcPts val="0"/>
              </a:spcAft>
              <a:buFontTx/>
              <a:buNone/>
              <a:defRPr sz="1400"/>
            </a:lvl5pPr>
            <a:lvl6pPr marL="0" indent="0">
              <a:lnSpc>
                <a:spcPct val="100000"/>
              </a:lnSpc>
              <a:spcBef>
                <a:spcPts val="0"/>
              </a:spcBef>
              <a:spcAft>
                <a:spcPts val="0"/>
              </a:spcAft>
              <a:buFontTx/>
              <a:buNone/>
              <a:defRPr sz="1400"/>
            </a:lvl6pPr>
            <a:lvl7pPr marL="0" indent="0">
              <a:lnSpc>
                <a:spcPct val="100000"/>
              </a:lnSpc>
              <a:spcBef>
                <a:spcPts val="0"/>
              </a:spcBef>
              <a:spcAft>
                <a:spcPts val="0"/>
              </a:spcAft>
              <a:buFontTx/>
              <a:buNone/>
              <a:defRPr sz="1400"/>
            </a:lvl7pPr>
            <a:lvl8pPr marL="0" indent="0">
              <a:lnSpc>
                <a:spcPct val="100000"/>
              </a:lnSpc>
              <a:spcBef>
                <a:spcPts val="0"/>
              </a:spcBef>
              <a:spcAft>
                <a:spcPts val="0"/>
              </a:spcAft>
              <a:buFontTx/>
              <a:buNone/>
              <a:defRPr sz="1400"/>
            </a:lvl8pPr>
            <a:lvl9pPr marL="0" indent="0">
              <a:lnSpc>
                <a:spcPct val="100000"/>
              </a:lnSpc>
              <a:spcBef>
                <a:spcPts val="0"/>
              </a:spcBef>
              <a:spcAft>
                <a:spcPts val="0"/>
              </a:spcAft>
              <a:buFontTx/>
              <a:buNone/>
              <a:defRPr sz="1400"/>
            </a:lvl9pPr>
          </a:lstStyle>
          <a:p>
            <a:fld id="{4873DD5D-77DC-48FC-8E2C-8A5EEBC5CC2A}" type="datetime1">
              <a:rPr lang="en-US"/>
              <a:t>1/16/2022</a:t>
            </a:fld>
            <a:endParaRPr lang="en-US" dirty="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bwMode="gray">
          <a:xfrm>
            <a:off x="604973" y="476936"/>
            <a:ext cx="3630623" cy="329870"/>
          </a:xfrm>
          <a:prstGeom prst="rect">
            <a:avLst/>
          </a:prstGeom>
        </p:spPr>
      </p:pic>
      <p:grpSp>
        <p:nvGrpSpPr>
          <p:cNvPr id="9" name="Gruppieren 8">
            <a:extLst>
              <a:ext uri="{FF2B5EF4-FFF2-40B4-BE49-F238E27FC236}">
                <a16:creationId xmlns:a16="http://schemas.microsoft.com/office/drawing/2014/main" id="{4DFB24C7-8994-4816-B358-A2A456885FB9}"/>
              </a:ext>
            </a:extLst>
          </p:cNvPr>
          <p:cNvGrpSpPr/>
          <p:nvPr/>
        </p:nvGrpSpPr>
        <p:grpSpPr bwMode="gray">
          <a:xfrm>
            <a:off x="10804526" y="1"/>
            <a:ext cx="809625" cy="1135063"/>
            <a:chOff x="10804526" y="1"/>
            <a:chExt cx="809625" cy="1135063"/>
          </a:xfrm>
        </p:grpSpPr>
        <p:sp>
          <p:nvSpPr>
            <p:cNvPr id="10" name="Freihandform: Form 9">
              <a:extLst>
                <a:ext uri="{FF2B5EF4-FFF2-40B4-BE49-F238E27FC236}">
                  <a16:creationId xmlns:a16="http://schemas.microsoft.com/office/drawing/2014/main" id="{C116766B-B246-4FB0-8073-658E06181EBC}"/>
                </a:ext>
              </a:extLst>
            </p:cNvPr>
            <p:cNvSpPr/>
            <p:nvPr userDrawn="1"/>
          </p:nvSpPr>
          <p:spPr bwMode="gray">
            <a:xfrm>
              <a:off x="10804526" y="1"/>
              <a:ext cx="809625" cy="1135063"/>
            </a:xfrm>
            <a:custGeom>
              <a:avLst/>
              <a:gdLst>
                <a:gd name="connsiteX0" fmla="*/ 0 w 809625"/>
                <a:gd name="connsiteY0" fmla="*/ 0 h 1135063"/>
                <a:gd name="connsiteX1" fmla="*/ 809625 w 809625"/>
                <a:gd name="connsiteY1" fmla="*/ 0 h 1135063"/>
                <a:gd name="connsiteX2" fmla="*/ 809625 w 809625"/>
                <a:gd name="connsiteY2" fmla="*/ 730422 h 1135063"/>
                <a:gd name="connsiteX3" fmla="*/ 404813 w 809625"/>
                <a:gd name="connsiteY3" fmla="*/ 1135063 h 1135063"/>
                <a:gd name="connsiteX4" fmla="*/ 0 w 809625"/>
                <a:gd name="connsiteY4" fmla="*/ 730422 h 1135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1135063">
                  <a:moveTo>
                    <a:pt x="0" y="0"/>
                  </a:moveTo>
                  <a:lnTo>
                    <a:pt x="809625" y="0"/>
                  </a:lnTo>
                  <a:lnTo>
                    <a:pt x="809625" y="730422"/>
                  </a:lnTo>
                  <a:cubicBezTo>
                    <a:pt x="809625" y="953908"/>
                    <a:pt x="628489" y="1135063"/>
                    <a:pt x="404813" y="1135063"/>
                  </a:cubicBezTo>
                  <a:cubicBezTo>
                    <a:pt x="181308" y="1135063"/>
                    <a:pt x="0" y="953908"/>
                    <a:pt x="0" y="730422"/>
                  </a:cubicBezTo>
                  <a:close/>
                </a:path>
              </a:pathLst>
            </a:custGeom>
            <a:solidFill>
              <a:srgbClr val="00CE7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bIns="79200" rtlCol="0" anchor="ctr">
              <a:noAutofit/>
            </a:bodyPr>
            <a:lstStyle/>
            <a:p>
              <a:pPr algn="ctr" rtl="0"/>
              <a:endParaRPr lang="en-US" sz="1400" dirty="0"/>
            </a:p>
          </p:txBody>
        </p:sp>
        <p:sp>
          <p:nvSpPr>
            <p:cNvPr id="11" name="Freeform 17">
              <a:extLst>
                <a:ext uri="{FF2B5EF4-FFF2-40B4-BE49-F238E27FC236}">
                  <a16:creationId xmlns:a16="http://schemas.microsoft.com/office/drawing/2014/main" id="{FFF42547-6A8D-469C-8751-E2AB5421CF2D}"/>
                </a:ext>
              </a:extLst>
            </p:cNvPr>
            <p:cNvSpPr>
              <a:spLocks noEditPoints="1"/>
            </p:cNvSpPr>
            <p:nvPr userDrawn="1"/>
          </p:nvSpPr>
          <p:spPr bwMode="gray">
            <a:xfrm>
              <a:off x="10929938" y="487363"/>
              <a:ext cx="595313" cy="320675"/>
            </a:xfrm>
            <a:custGeom>
              <a:avLst/>
              <a:gdLst>
                <a:gd name="T0" fmla="*/ 3270 w 3471"/>
                <a:gd name="T1" fmla="*/ 1872 h 1872"/>
                <a:gd name="T2" fmla="*/ 3137 w 3471"/>
                <a:gd name="T3" fmla="*/ 1817 h 1872"/>
                <a:gd name="T4" fmla="*/ 2679 w 3471"/>
                <a:gd name="T5" fmla="*/ 1358 h 1872"/>
                <a:gd name="T6" fmla="*/ 2677 w 3471"/>
                <a:gd name="T7" fmla="*/ 1096 h 1872"/>
                <a:gd name="T8" fmla="*/ 2806 w 3471"/>
                <a:gd name="T9" fmla="*/ 1042 h 1872"/>
                <a:gd name="T10" fmla="*/ 2939 w 3471"/>
                <a:gd name="T11" fmla="*/ 1098 h 1872"/>
                <a:gd name="T12" fmla="*/ 3397 w 3471"/>
                <a:gd name="T13" fmla="*/ 1557 h 1872"/>
                <a:gd name="T14" fmla="*/ 3452 w 3471"/>
                <a:gd name="T15" fmla="*/ 1688 h 1872"/>
                <a:gd name="T16" fmla="*/ 3399 w 3471"/>
                <a:gd name="T17" fmla="*/ 1819 h 1872"/>
                <a:gd name="T18" fmla="*/ 3270 w 3471"/>
                <a:gd name="T19" fmla="*/ 1872 h 1872"/>
                <a:gd name="T20" fmla="*/ 3270 w 3471"/>
                <a:gd name="T21" fmla="*/ 1872 h 1872"/>
                <a:gd name="T22" fmla="*/ 1787 w 3471"/>
                <a:gd name="T23" fmla="*/ 1872 h 1872"/>
                <a:gd name="T24" fmla="*/ 1658 w 3471"/>
                <a:gd name="T25" fmla="*/ 1819 h 1872"/>
                <a:gd name="T26" fmla="*/ 1605 w 3471"/>
                <a:gd name="T27" fmla="*/ 1688 h 1872"/>
                <a:gd name="T28" fmla="*/ 1660 w 3471"/>
                <a:gd name="T29" fmla="*/ 1557 h 1872"/>
                <a:gd name="T30" fmla="*/ 2119 w 3471"/>
                <a:gd name="T31" fmla="*/ 1098 h 1872"/>
                <a:gd name="T32" fmla="*/ 2252 w 3471"/>
                <a:gd name="T33" fmla="*/ 1042 h 1872"/>
                <a:gd name="T34" fmla="*/ 2381 w 3471"/>
                <a:gd name="T35" fmla="*/ 1096 h 1872"/>
                <a:gd name="T36" fmla="*/ 2379 w 3471"/>
                <a:gd name="T37" fmla="*/ 1358 h 1872"/>
                <a:gd name="T38" fmla="*/ 1920 w 3471"/>
                <a:gd name="T39" fmla="*/ 1817 h 1872"/>
                <a:gd name="T40" fmla="*/ 1787 w 3471"/>
                <a:gd name="T41" fmla="*/ 1872 h 1872"/>
                <a:gd name="T42" fmla="*/ 1787 w 3471"/>
                <a:gd name="T43" fmla="*/ 1872 h 1872"/>
                <a:gd name="T44" fmla="*/ 196 w 3471"/>
                <a:gd name="T45" fmla="*/ 1857 h 1872"/>
                <a:gd name="T46" fmla="*/ 0 w 3471"/>
                <a:gd name="T47" fmla="*/ 1662 h 1872"/>
                <a:gd name="T48" fmla="*/ 0 w 3471"/>
                <a:gd name="T49" fmla="*/ 211 h 1872"/>
                <a:gd name="T50" fmla="*/ 196 w 3471"/>
                <a:gd name="T51" fmla="*/ 16 h 1872"/>
                <a:gd name="T52" fmla="*/ 1219 w 3471"/>
                <a:gd name="T53" fmla="*/ 16 h 1872"/>
                <a:gd name="T54" fmla="*/ 1390 w 3471"/>
                <a:gd name="T55" fmla="*/ 185 h 1872"/>
                <a:gd name="T56" fmla="*/ 1219 w 3471"/>
                <a:gd name="T57" fmla="*/ 354 h 1872"/>
                <a:gd name="T58" fmla="*/ 372 w 3471"/>
                <a:gd name="T59" fmla="*/ 354 h 1872"/>
                <a:gd name="T60" fmla="*/ 372 w 3471"/>
                <a:gd name="T61" fmla="*/ 1518 h 1872"/>
                <a:gd name="T62" fmla="*/ 1232 w 3471"/>
                <a:gd name="T63" fmla="*/ 1518 h 1872"/>
                <a:gd name="T64" fmla="*/ 1404 w 3471"/>
                <a:gd name="T65" fmla="*/ 1688 h 1872"/>
                <a:gd name="T66" fmla="*/ 1232 w 3471"/>
                <a:gd name="T67" fmla="*/ 1857 h 1872"/>
                <a:gd name="T68" fmla="*/ 196 w 3471"/>
                <a:gd name="T69" fmla="*/ 1857 h 1872"/>
                <a:gd name="T70" fmla="*/ 590 w 3471"/>
                <a:gd name="T71" fmla="*/ 1099 h 1872"/>
                <a:gd name="T72" fmla="*/ 590 w 3471"/>
                <a:gd name="T73" fmla="*/ 761 h 1872"/>
                <a:gd name="T74" fmla="*/ 1628 w 3471"/>
                <a:gd name="T75" fmla="*/ 761 h 1872"/>
                <a:gd name="T76" fmla="*/ 1800 w 3471"/>
                <a:gd name="T77" fmla="*/ 930 h 1872"/>
                <a:gd name="T78" fmla="*/ 1628 w 3471"/>
                <a:gd name="T79" fmla="*/ 1099 h 1872"/>
                <a:gd name="T80" fmla="*/ 590 w 3471"/>
                <a:gd name="T81" fmla="*/ 1099 h 1872"/>
                <a:gd name="T82" fmla="*/ 2806 w 3471"/>
                <a:gd name="T83" fmla="*/ 831 h 1872"/>
                <a:gd name="T84" fmla="*/ 2677 w 3471"/>
                <a:gd name="T85" fmla="*/ 777 h 1872"/>
                <a:gd name="T86" fmla="*/ 2679 w 3471"/>
                <a:gd name="T87" fmla="*/ 515 h 1872"/>
                <a:gd name="T88" fmla="*/ 3137 w 3471"/>
                <a:gd name="T89" fmla="*/ 56 h 1872"/>
                <a:gd name="T90" fmla="*/ 3270 w 3471"/>
                <a:gd name="T91" fmla="*/ 0 h 1872"/>
                <a:gd name="T92" fmla="*/ 3399 w 3471"/>
                <a:gd name="T93" fmla="*/ 54 h 1872"/>
                <a:gd name="T94" fmla="*/ 3397 w 3471"/>
                <a:gd name="T95" fmla="*/ 316 h 1872"/>
                <a:gd name="T96" fmla="*/ 2939 w 3471"/>
                <a:gd name="T97" fmla="*/ 775 h 1872"/>
                <a:gd name="T98" fmla="*/ 2806 w 3471"/>
                <a:gd name="T99" fmla="*/ 831 h 1872"/>
                <a:gd name="T100" fmla="*/ 2252 w 3471"/>
                <a:gd name="T101" fmla="*/ 831 h 1872"/>
                <a:gd name="T102" fmla="*/ 2119 w 3471"/>
                <a:gd name="T103" fmla="*/ 775 h 1872"/>
                <a:gd name="T104" fmla="*/ 1660 w 3471"/>
                <a:gd name="T105" fmla="*/ 316 h 1872"/>
                <a:gd name="T106" fmla="*/ 1658 w 3471"/>
                <a:gd name="T107" fmla="*/ 54 h 1872"/>
                <a:gd name="T108" fmla="*/ 1787 w 3471"/>
                <a:gd name="T109" fmla="*/ 0 h 1872"/>
                <a:gd name="T110" fmla="*/ 1920 w 3471"/>
                <a:gd name="T111" fmla="*/ 56 h 1872"/>
                <a:gd name="T112" fmla="*/ 2379 w 3471"/>
                <a:gd name="T113" fmla="*/ 515 h 1872"/>
                <a:gd name="T114" fmla="*/ 2381 w 3471"/>
                <a:gd name="T115" fmla="*/ 777 h 1872"/>
                <a:gd name="T116" fmla="*/ 2252 w 3471"/>
                <a:gd name="T117" fmla="*/ 831 h 1872"/>
                <a:gd name="T118" fmla="*/ 2252 w 3471"/>
                <a:gd name="T119" fmla="*/ 831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71" h="1872">
                  <a:moveTo>
                    <a:pt x="3270" y="1872"/>
                  </a:moveTo>
                  <a:cubicBezTo>
                    <a:pt x="3220" y="1872"/>
                    <a:pt x="3173" y="1853"/>
                    <a:pt x="3137" y="1817"/>
                  </a:cubicBezTo>
                  <a:lnTo>
                    <a:pt x="2679" y="1358"/>
                  </a:lnTo>
                  <a:cubicBezTo>
                    <a:pt x="2606" y="1285"/>
                    <a:pt x="2605" y="1167"/>
                    <a:pt x="2677" y="1096"/>
                  </a:cubicBezTo>
                  <a:cubicBezTo>
                    <a:pt x="2711" y="1061"/>
                    <a:pt x="2757" y="1042"/>
                    <a:pt x="2806" y="1042"/>
                  </a:cubicBezTo>
                  <a:cubicBezTo>
                    <a:pt x="2856" y="1042"/>
                    <a:pt x="2903" y="1062"/>
                    <a:pt x="2939" y="1098"/>
                  </a:cubicBezTo>
                  <a:lnTo>
                    <a:pt x="3397" y="1557"/>
                  </a:lnTo>
                  <a:cubicBezTo>
                    <a:pt x="3432" y="1592"/>
                    <a:pt x="3452" y="1639"/>
                    <a:pt x="3452" y="1688"/>
                  </a:cubicBezTo>
                  <a:cubicBezTo>
                    <a:pt x="3453" y="1738"/>
                    <a:pt x="3434" y="1784"/>
                    <a:pt x="3399" y="1819"/>
                  </a:cubicBezTo>
                  <a:cubicBezTo>
                    <a:pt x="3365" y="1854"/>
                    <a:pt x="3319" y="1872"/>
                    <a:pt x="3270" y="1872"/>
                  </a:cubicBezTo>
                  <a:lnTo>
                    <a:pt x="3270" y="1872"/>
                  </a:lnTo>
                  <a:close/>
                  <a:moveTo>
                    <a:pt x="1787" y="1872"/>
                  </a:moveTo>
                  <a:cubicBezTo>
                    <a:pt x="1739" y="1872"/>
                    <a:pt x="1693" y="1854"/>
                    <a:pt x="1658" y="1819"/>
                  </a:cubicBezTo>
                  <a:cubicBezTo>
                    <a:pt x="1624" y="1784"/>
                    <a:pt x="1605" y="1738"/>
                    <a:pt x="1605" y="1688"/>
                  </a:cubicBezTo>
                  <a:cubicBezTo>
                    <a:pt x="1605" y="1639"/>
                    <a:pt x="1625" y="1592"/>
                    <a:pt x="1660" y="1557"/>
                  </a:cubicBezTo>
                  <a:lnTo>
                    <a:pt x="2119" y="1098"/>
                  </a:lnTo>
                  <a:cubicBezTo>
                    <a:pt x="2154" y="1062"/>
                    <a:pt x="2202" y="1042"/>
                    <a:pt x="2252" y="1042"/>
                  </a:cubicBezTo>
                  <a:cubicBezTo>
                    <a:pt x="2300" y="1042"/>
                    <a:pt x="2346" y="1061"/>
                    <a:pt x="2381" y="1096"/>
                  </a:cubicBezTo>
                  <a:cubicBezTo>
                    <a:pt x="2452" y="1167"/>
                    <a:pt x="2451" y="1285"/>
                    <a:pt x="2379" y="1358"/>
                  </a:cubicBezTo>
                  <a:lnTo>
                    <a:pt x="1920" y="1817"/>
                  </a:lnTo>
                  <a:cubicBezTo>
                    <a:pt x="1885" y="1853"/>
                    <a:pt x="1837" y="1872"/>
                    <a:pt x="1787" y="1872"/>
                  </a:cubicBezTo>
                  <a:cubicBezTo>
                    <a:pt x="1787" y="1872"/>
                    <a:pt x="1787" y="1872"/>
                    <a:pt x="1787" y="1872"/>
                  </a:cubicBezTo>
                  <a:close/>
                  <a:moveTo>
                    <a:pt x="196" y="1857"/>
                  </a:moveTo>
                  <a:cubicBezTo>
                    <a:pt x="87" y="1857"/>
                    <a:pt x="0" y="1771"/>
                    <a:pt x="0" y="1662"/>
                  </a:cubicBezTo>
                  <a:lnTo>
                    <a:pt x="0" y="211"/>
                  </a:lnTo>
                  <a:cubicBezTo>
                    <a:pt x="0" y="102"/>
                    <a:pt x="87" y="16"/>
                    <a:pt x="196" y="16"/>
                  </a:cubicBezTo>
                  <a:lnTo>
                    <a:pt x="1219" y="16"/>
                  </a:lnTo>
                  <a:cubicBezTo>
                    <a:pt x="1313" y="16"/>
                    <a:pt x="1390" y="92"/>
                    <a:pt x="1390" y="185"/>
                  </a:cubicBezTo>
                  <a:cubicBezTo>
                    <a:pt x="1390" y="278"/>
                    <a:pt x="1313" y="354"/>
                    <a:pt x="1219" y="354"/>
                  </a:cubicBezTo>
                  <a:lnTo>
                    <a:pt x="372" y="354"/>
                  </a:lnTo>
                  <a:lnTo>
                    <a:pt x="372" y="1518"/>
                  </a:lnTo>
                  <a:lnTo>
                    <a:pt x="1232" y="1518"/>
                  </a:lnTo>
                  <a:cubicBezTo>
                    <a:pt x="1327" y="1518"/>
                    <a:pt x="1404" y="1594"/>
                    <a:pt x="1404" y="1688"/>
                  </a:cubicBezTo>
                  <a:cubicBezTo>
                    <a:pt x="1404" y="1781"/>
                    <a:pt x="1327" y="1857"/>
                    <a:pt x="1232" y="1857"/>
                  </a:cubicBezTo>
                  <a:lnTo>
                    <a:pt x="196" y="1857"/>
                  </a:lnTo>
                  <a:close/>
                  <a:moveTo>
                    <a:pt x="590" y="1099"/>
                  </a:moveTo>
                  <a:lnTo>
                    <a:pt x="590" y="761"/>
                  </a:lnTo>
                  <a:lnTo>
                    <a:pt x="1628" y="761"/>
                  </a:lnTo>
                  <a:cubicBezTo>
                    <a:pt x="1723" y="761"/>
                    <a:pt x="1800" y="837"/>
                    <a:pt x="1800" y="930"/>
                  </a:cubicBezTo>
                  <a:cubicBezTo>
                    <a:pt x="1800" y="1023"/>
                    <a:pt x="1723" y="1099"/>
                    <a:pt x="1628" y="1099"/>
                  </a:cubicBezTo>
                  <a:lnTo>
                    <a:pt x="590" y="1099"/>
                  </a:lnTo>
                  <a:close/>
                  <a:moveTo>
                    <a:pt x="2806" y="831"/>
                  </a:moveTo>
                  <a:cubicBezTo>
                    <a:pt x="2757" y="831"/>
                    <a:pt x="2711" y="812"/>
                    <a:pt x="2677" y="777"/>
                  </a:cubicBezTo>
                  <a:cubicBezTo>
                    <a:pt x="2605" y="706"/>
                    <a:pt x="2606" y="588"/>
                    <a:pt x="2679" y="515"/>
                  </a:cubicBezTo>
                  <a:lnTo>
                    <a:pt x="3137" y="56"/>
                  </a:lnTo>
                  <a:cubicBezTo>
                    <a:pt x="3173" y="20"/>
                    <a:pt x="3220" y="0"/>
                    <a:pt x="3270" y="0"/>
                  </a:cubicBezTo>
                  <a:cubicBezTo>
                    <a:pt x="3319" y="0"/>
                    <a:pt x="3365" y="19"/>
                    <a:pt x="3399" y="54"/>
                  </a:cubicBezTo>
                  <a:cubicBezTo>
                    <a:pt x="3471" y="126"/>
                    <a:pt x="3470" y="243"/>
                    <a:pt x="3397" y="316"/>
                  </a:cubicBezTo>
                  <a:lnTo>
                    <a:pt x="2939" y="775"/>
                  </a:lnTo>
                  <a:cubicBezTo>
                    <a:pt x="2903" y="811"/>
                    <a:pt x="2856" y="831"/>
                    <a:pt x="2806" y="831"/>
                  </a:cubicBezTo>
                  <a:close/>
                  <a:moveTo>
                    <a:pt x="2252" y="831"/>
                  </a:moveTo>
                  <a:cubicBezTo>
                    <a:pt x="2202" y="831"/>
                    <a:pt x="2154" y="811"/>
                    <a:pt x="2119" y="775"/>
                  </a:cubicBezTo>
                  <a:lnTo>
                    <a:pt x="1660" y="316"/>
                  </a:lnTo>
                  <a:cubicBezTo>
                    <a:pt x="1588" y="243"/>
                    <a:pt x="1587" y="126"/>
                    <a:pt x="1658" y="54"/>
                  </a:cubicBezTo>
                  <a:cubicBezTo>
                    <a:pt x="1693" y="19"/>
                    <a:pt x="1739" y="0"/>
                    <a:pt x="1787" y="0"/>
                  </a:cubicBezTo>
                  <a:cubicBezTo>
                    <a:pt x="1837" y="0"/>
                    <a:pt x="1885" y="20"/>
                    <a:pt x="1920" y="56"/>
                  </a:cubicBezTo>
                  <a:lnTo>
                    <a:pt x="2379" y="515"/>
                  </a:lnTo>
                  <a:cubicBezTo>
                    <a:pt x="2451" y="588"/>
                    <a:pt x="2452" y="706"/>
                    <a:pt x="2381" y="777"/>
                  </a:cubicBezTo>
                  <a:cubicBezTo>
                    <a:pt x="2346" y="812"/>
                    <a:pt x="2300" y="831"/>
                    <a:pt x="2252" y="831"/>
                  </a:cubicBezTo>
                  <a:lnTo>
                    <a:pt x="2252" y="831"/>
                  </a:lnTo>
                  <a:close/>
                </a:path>
              </a:pathLst>
            </a:custGeom>
            <a:solidFill>
              <a:srgbClr val="20175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US" dirty="0"/>
            </a:p>
          </p:txBody>
        </p:sp>
      </p:grpSp>
    </p:spTree>
    <p:extLst>
      <p:ext uri="{BB962C8B-B14F-4D97-AF65-F5344CB8AC3E}">
        <p14:creationId xmlns:p14="http://schemas.microsoft.com/office/powerpoint/2010/main" val="415678993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clean | White">
    <p:bg>
      <p:bgPr>
        <a:solidFill>
          <a:schemeClr val="bg1"/>
        </a:solidFill>
        <a:effectLst/>
      </p:bgPr>
    </p:bg>
    <p:spTree>
      <p:nvGrpSpPr>
        <p:cNvPr id="1" name=""/>
        <p:cNvGrpSpPr/>
        <p:nvPr/>
      </p:nvGrpSpPr>
      <p:grpSpPr>
        <a:xfrm>
          <a:off x="0" y="0"/>
          <a:ext cx="0" cy="0"/>
          <a:chOff x="0" y="0"/>
          <a:chExt cx="0" cy="0"/>
        </a:xfrm>
      </p:grpSpPr>
      <p:grpSp>
        <p:nvGrpSpPr>
          <p:cNvPr id="11" name="Gruppieren 10">
            <a:extLst>
              <a:ext uri="{FF2B5EF4-FFF2-40B4-BE49-F238E27FC236}">
                <a16:creationId xmlns:a16="http://schemas.microsoft.com/office/drawing/2014/main" id="{081A581C-5B5A-4A55-906C-B989ED23EC42}"/>
              </a:ext>
            </a:extLst>
          </p:cNvPr>
          <p:cNvGrpSpPr/>
          <p:nvPr/>
        </p:nvGrpSpPr>
        <p:grpSpPr bwMode="gray">
          <a:xfrm>
            <a:off x="10804526" y="1"/>
            <a:ext cx="809625" cy="1135063"/>
            <a:chOff x="10804526" y="1"/>
            <a:chExt cx="809625" cy="1135063"/>
          </a:xfrm>
        </p:grpSpPr>
        <p:sp>
          <p:nvSpPr>
            <p:cNvPr id="15" name="Freihandform: Form 14">
              <a:extLst>
                <a:ext uri="{FF2B5EF4-FFF2-40B4-BE49-F238E27FC236}">
                  <a16:creationId xmlns:a16="http://schemas.microsoft.com/office/drawing/2014/main" id="{FF79BA4E-8448-4418-BB13-32A593778B82}"/>
                </a:ext>
              </a:extLst>
            </p:cNvPr>
            <p:cNvSpPr/>
            <p:nvPr userDrawn="1"/>
          </p:nvSpPr>
          <p:spPr bwMode="gray">
            <a:xfrm>
              <a:off x="10804526" y="1"/>
              <a:ext cx="809625" cy="1135063"/>
            </a:xfrm>
            <a:custGeom>
              <a:avLst/>
              <a:gdLst>
                <a:gd name="connsiteX0" fmla="*/ 0 w 809625"/>
                <a:gd name="connsiteY0" fmla="*/ 0 h 1135063"/>
                <a:gd name="connsiteX1" fmla="*/ 809625 w 809625"/>
                <a:gd name="connsiteY1" fmla="*/ 0 h 1135063"/>
                <a:gd name="connsiteX2" fmla="*/ 809625 w 809625"/>
                <a:gd name="connsiteY2" fmla="*/ 730422 h 1135063"/>
                <a:gd name="connsiteX3" fmla="*/ 404813 w 809625"/>
                <a:gd name="connsiteY3" fmla="*/ 1135063 h 1135063"/>
                <a:gd name="connsiteX4" fmla="*/ 0 w 809625"/>
                <a:gd name="connsiteY4" fmla="*/ 730422 h 1135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1135063">
                  <a:moveTo>
                    <a:pt x="0" y="0"/>
                  </a:moveTo>
                  <a:lnTo>
                    <a:pt x="809625" y="0"/>
                  </a:lnTo>
                  <a:lnTo>
                    <a:pt x="809625" y="730422"/>
                  </a:lnTo>
                  <a:cubicBezTo>
                    <a:pt x="809625" y="953908"/>
                    <a:pt x="628489" y="1135063"/>
                    <a:pt x="404813" y="1135063"/>
                  </a:cubicBezTo>
                  <a:cubicBezTo>
                    <a:pt x="181308" y="1135063"/>
                    <a:pt x="0" y="953908"/>
                    <a:pt x="0" y="730422"/>
                  </a:cubicBezTo>
                  <a:close/>
                </a:path>
              </a:pathLst>
            </a:custGeom>
            <a:solidFill>
              <a:srgbClr val="20175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bIns="79200" rtlCol="0" anchor="ctr">
              <a:noAutofit/>
            </a:bodyPr>
            <a:lstStyle/>
            <a:p>
              <a:pPr algn="ctr" rtl="0"/>
              <a:endParaRPr lang="en-US" sz="1400" dirty="0"/>
            </a:p>
          </p:txBody>
        </p:sp>
        <p:sp>
          <p:nvSpPr>
            <p:cNvPr id="9" name="Freeform 17">
              <a:extLst>
                <a:ext uri="{FF2B5EF4-FFF2-40B4-BE49-F238E27FC236}">
                  <a16:creationId xmlns:a16="http://schemas.microsoft.com/office/drawing/2014/main" id="{3B76702A-4BDE-4445-BD59-9C0E31123A8E}"/>
                </a:ext>
              </a:extLst>
            </p:cNvPr>
            <p:cNvSpPr>
              <a:spLocks noEditPoints="1"/>
            </p:cNvSpPr>
            <p:nvPr userDrawn="1"/>
          </p:nvSpPr>
          <p:spPr bwMode="gray">
            <a:xfrm>
              <a:off x="10929938" y="487363"/>
              <a:ext cx="595313" cy="320675"/>
            </a:xfrm>
            <a:custGeom>
              <a:avLst/>
              <a:gdLst>
                <a:gd name="T0" fmla="*/ 3270 w 3471"/>
                <a:gd name="T1" fmla="*/ 1872 h 1872"/>
                <a:gd name="T2" fmla="*/ 3137 w 3471"/>
                <a:gd name="T3" fmla="*/ 1817 h 1872"/>
                <a:gd name="T4" fmla="*/ 2679 w 3471"/>
                <a:gd name="T5" fmla="*/ 1358 h 1872"/>
                <a:gd name="T6" fmla="*/ 2677 w 3471"/>
                <a:gd name="T7" fmla="*/ 1096 h 1872"/>
                <a:gd name="T8" fmla="*/ 2806 w 3471"/>
                <a:gd name="T9" fmla="*/ 1042 h 1872"/>
                <a:gd name="T10" fmla="*/ 2939 w 3471"/>
                <a:gd name="T11" fmla="*/ 1098 h 1872"/>
                <a:gd name="T12" fmla="*/ 3397 w 3471"/>
                <a:gd name="T13" fmla="*/ 1557 h 1872"/>
                <a:gd name="T14" fmla="*/ 3452 w 3471"/>
                <a:gd name="T15" fmla="*/ 1688 h 1872"/>
                <a:gd name="T16" fmla="*/ 3399 w 3471"/>
                <a:gd name="T17" fmla="*/ 1819 h 1872"/>
                <a:gd name="T18" fmla="*/ 3270 w 3471"/>
                <a:gd name="T19" fmla="*/ 1872 h 1872"/>
                <a:gd name="T20" fmla="*/ 3270 w 3471"/>
                <a:gd name="T21" fmla="*/ 1872 h 1872"/>
                <a:gd name="T22" fmla="*/ 1787 w 3471"/>
                <a:gd name="T23" fmla="*/ 1872 h 1872"/>
                <a:gd name="T24" fmla="*/ 1658 w 3471"/>
                <a:gd name="T25" fmla="*/ 1819 h 1872"/>
                <a:gd name="T26" fmla="*/ 1605 w 3471"/>
                <a:gd name="T27" fmla="*/ 1688 h 1872"/>
                <a:gd name="T28" fmla="*/ 1660 w 3471"/>
                <a:gd name="T29" fmla="*/ 1557 h 1872"/>
                <a:gd name="T30" fmla="*/ 2119 w 3471"/>
                <a:gd name="T31" fmla="*/ 1098 h 1872"/>
                <a:gd name="T32" fmla="*/ 2252 w 3471"/>
                <a:gd name="T33" fmla="*/ 1042 h 1872"/>
                <a:gd name="T34" fmla="*/ 2381 w 3471"/>
                <a:gd name="T35" fmla="*/ 1096 h 1872"/>
                <a:gd name="T36" fmla="*/ 2379 w 3471"/>
                <a:gd name="T37" fmla="*/ 1358 h 1872"/>
                <a:gd name="T38" fmla="*/ 1920 w 3471"/>
                <a:gd name="T39" fmla="*/ 1817 h 1872"/>
                <a:gd name="T40" fmla="*/ 1787 w 3471"/>
                <a:gd name="T41" fmla="*/ 1872 h 1872"/>
                <a:gd name="T42" fmla="*/ 1787 w 3471"/>
                <a:gd name="T43" fmla="*/ 1872 h 1872"/>
                <a:gd name="T44" fmla="*/ 196 w 3471"/>
                <a:gd name="T45" fmla="*/ 1857 h 1872"/>
                <a:gd name="T46" fmla="*/ 0 w 3471"/>
                <a:gd name="T47" fmla="*/ 1662 h 1872"/>
                <a:gd name="T48" fmla="*/ 0 w 3471"/>
                <a:gd name="T49" fmla="*/ 211 h 1872"/>
                <a:gd name="T50" fmla="*/ 196 w 3471"/>
                <a:gd name="T51" fmla="*/ 16 h 1872"/>
                <a:gd name="T52" fmla="*/ 1219 w 3471"/>
                <a:gd name="T53" fmla="*/ 16 h 1872"/>
                <a:gd name="T54" fmla="*/ 1390 w 3471"/>
                <a:gd name="T55" fmla="*/ 185 h 1872"/>
                <a:gd name="T56" fmla="*/ 1219 w 3471"/>
                <a:gd name="T57" fmla="*/ 354 h 1872"/>
                <a:gd name="T58" fmla="*/ 372 w 3471"/>
                <a:gd name="T59" fmla="*/ 354 h 1872"/>
                <a:gd name="T60" fmla="*/ 372 w 3471"/>
                <a:gd name="T61" fmla="*/ 1518 h 1872"/>
                <a:gd name="T62" fmla="*/ 1232 w 3471"/>
                <a:gd name="T63" fmla="*/ 1518 h 1872"/>
                <a:gd name="T64" fmla="*/ 1404 w 3471"/>
                <a:gd name="T65" fmla="*/ 1688 h 1872"/>
                <a:gd name="T66" fmla="*/ 1232 w 3471"/>
                <a:gd name="T67" fmla="*/ 1857 h 1872"/>
                <a:gd name="T68" fmla="*/ 196 w 3471"/>
                <a:gd name="T69" fmla="*/ 1857 h 1872"/>
                <a:gd name="T70" fmla="*/ 590 w 3471"/>
                <a:gd name="T71" fmla="*/ 1099 h 1872"/>
                <a:gd name="T72" fmla="*/ 590 w 3471"/>
                <a:gd name="T73" fmla="*/ 761 h 1872"/>
                <a:gd name="T74" fmla="*/ 1628 w 3471"/>
                <a:gd name="T75" fmla="*/ 761 h 1872"/>
                <a:gd name="T76" fmla="*/ 1800 w 3471"/>
                <a:gd name="T77" fmla="*/ 930 h 1872"/>
                <a:gd name="T78" fmla="*/ 1628 w 3471"/>
                <a:gd name="T79" fmla="*/ 1099 h 1872"/>
                <a:gd name="T80" fmla="*/ 590 w 3471"/>
                <a:gd name="T81" fmla="*/ 1099 h 1872"/>
                <a:gd name="T82" fmla="*/ 2806 w 3471"/>
                <a:gd name="T83" fmla="*/ 831 h 1872"/>
                <a:gd name="T84" fmla="*/ 2677 w 3471"/>
                <a:gd name="T85" fmla="*/ 777 h 1872"/>
                <a:gd name="T86" fmla="*/ 2679 w 3471"/>
                <a:gd name="T87" fmla="*/ 515 h 1872"/>
                <a:gd name="T88" fmla="*/ 3137 w 3471"/>
                <a:gd name="T89" fmla="*/ 56 h 1872"/>
                <a:gd name="T90" fmla="*/ 3270 w 3471"/>
                <a:gd name="T91" fmla="*/ 0 h 1872"/>
                <a:gd name="T92" fmla="*/ 3399 w 3471"/>
                <a:gd name="T93" fmla="*/ 54 h 1872"/>
                <a:gd name="T94" fmla="*/ 3397 w 3471"/>
                <a:gd name="T95" fmla="*/ 316 h 1872"/>
                <a:gd name="T96" fmla="*/ 2939 w 3471"/>
                <a:gd name="T97" fmla="*/ 775 h 1872"/>
                <a:gd name="T98" fmla="*/ 2806 w 3471"/>
                <a:gd name="T99" fmla="*/ 831 h 1872"/>
                <a:gd name="T100" fmla="*/ 2252 w 3471"/>
                <a:gd name="T101" fmla="*/ 831 h 1872"/>
                <a:gd name="T102" fmla="*/ 2119 w 3471"/>
                <a:gd name="T103" fmla="*/ 775 h 1872"/>
                <a:gd name="T104" fmla="*/ 1660 w 3471"/>
                <a:gd name="T105" fmla="*/ 316 h 1872"/>
                <a:gd name="T106" fmla="*/ 1658 w 3471"/>
                <a:gd name="T107" fmla="*/ 54 h 1872"/>
                <a:gd name="T108" fmla="*/ 1787 w 3471"/>
                <a:gd name="T109" fmla="*/ 0 h 1872"/>
                <a:gd name="T110" fmla="*/ 1920 w 3471"/>
                <a:gd name="T111" fmla="*/ 56 h 1872"/>
                <a:gd name="T112" fmla="*/ 2379 w 3471"/>
                <a:gd name="T113" fmla="*/ 515 h 1872"/>
                <a:gd name="T114" fmla="*/ 2381 w 3471"/>
                <a:gd name="T115" fmla="*/ 777 h 1872"/>
                <a:gd name="T116" fmla="*/ 2252 w 3471"/>
                <a:gd name="T117" fmla="*/ 831 h 1872"/>
                <a:gd name="T118" fmla="*/ 2252 w 3471"/>
                <a:gd name="T119" fmla="*/ 831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71" h="1872">
                  <a:moveTo>
                    <a:pt x="3270" y="1872"/>
                  </a:moveTo>
                  <a:cubicBezTo>
                    <a:pt x="3220" y="1872"/>
                    <a:pt x="3173" y="1853"/>
                    <a:pt x="3137" y="1817"/>
                  </a:cubicBezTo>
                  <a:lnTo>
                    <a:pt x="2679" y="1358"/>
                  </a:lnTo>
                  <a:cubicBezTo>
                    <a:pt x="2606" y="1285"/>
                    <a:pt x="2605" y="1167"/>
                    <a:pt x="2677" y="1096"/>
                  </a:cubicBezTo>
                  <a:cubicBezTo>
                    <a:pt x="2711" y="1061"/>
                    <a:pt x="2757" y="1042"/>
                    <a:pt x="2806" y="1042"/>
                  </a:cubicBezTo>
                  <a:cubicBezTo>
                    <a:pt x="2856" y="1042"/>
                    <a:pt x="2903" y="1062"/>
                    <a:pt x="2939" y="1098"/>
                  </a:cubicBezTo>
                  <a:lnTo>
                    <a:pt x="3397" y="1557"/>
                  </a:lnTo>
                  <a:cubicBezTo>
                    <a:pt x="3432" y="1592"/>
                    <a:pt x="3452" y="1639"/>
                    <a:pt x="3452" y="1688"/>
                  </a:cubicBezTo>
                  <a:cubicBezTo>
                    <a:pt x="3453" y="1738"/>
                    <a:pt x="3434" y="1784"/>
                    <a:pt x="3399" y="1819"/>
                  </a:cubicBezTo>
                  <a:cubicBezTo>
                    <a:pt x="3365" y="1854"/>
                    <a:pt x="3319" y="1872"/>
                    <a:pt x="3270" y="1872"/>
                  </a:cubicBezTo>
                  <a:lnTo>
                    <a:pt x="3270" y="1872"/>
                  </a:lnTo>
                  <a:close/>
                  <a:moveTo>
                    <a:pt x="1787" y="1872"/>
                  </a:moveTo>
                  <a:cubicBezTo>
                    <a:pt x="1739" y="1872"/>
                    <a:pt x="1693" y="1854"/>
                    <a:pt x="1658" y="1819"/>
                  </a:cubicBezTo>
                  <a:cubicBezTo>
                    <a:pt x="1624" y="1784"/>
                    <a:pt x="1605" y="1738"/>
                    <a:pt x="1605" y="1688"/>
                  </a:cubicBezTo>
                  <a:cubicBezTo>
                    <a:pt x="1605" y="1639"/>
                    <a:pt x="1625" y="1592"/>
                    <a:pt x="1660" y="1557"/>
                  </a:cubicBezTo>
                  <a:lnTo>
                    <a:pt x="2119" y="1098"/>
                  </a:lnTo>
                  <a:cubicBezTo>
                    <a:pt x="2154" y="1062"/>
                    <a:pt x="2202" y="1042"/>
                    <a:pt x="2252" y="1042"/>
                  </a:cubicBezTo>
                  <a:cubicBezTo>
                    <a:pt x="2300" y="1042"/>
                    <a:pt x="2346" y="1061"/>
                    <a:pt x="2381" y="1096"/>
                  </a:cubicBezTo>
                  <a:cubicBezTo>
                    <a:pt x="2452" y="1167"/>
                    <a:pt x="2451" y="1285"/>
                    <a:pt x="2379" y="1358"/>
                  </a:cubicBezTo>
                  <a:lnTo>
                    <a:pt x="1920" y="1817"/>
                  </a:lnTo>
                  <a:cubicBezTo>
                    <a:pt x="1885" y="1853"/>
                    <a:pt x="1837" y="1872"/>
                    <a:pt x="1787" y="1872"/>
                  </a:cubicBezTo>
                  <a:cubicBezTo>
                    <a:pt x="1787" y="1872"/>
                    <a:pt x="1787" y="1872"/>
                    <a:pt x="1787" y="1872"/>
                  </a:cubicBezTo>
                  <a:close/>
                  <a:moveTo>
                    <a:pt x="196" y="1857"/>
                  </a:moveTo>
                  <a:cubicBezTo>
                    <a:pt x="87" y="1857"/>
                    <a:pt x="0" y="1771"/>
                    <a:pt x="0" y="1662"/>
                  </a:cubicBezTo>
                  <a:lnTo>
                    <a:pt x="0" y="211"/>
                  </a:lnTo>
                  <a:cubicBezTo>
                    <a:pt x="0" y="102"/>
                    <a:pt x="87" y="16"/>
                    <a:pt x="196" y="16"/>
                  </a:cubicBezTo>
                  <a:lnTo>
                    <a:pt x="1219" y="16"/>
                  </a:lnTo>
                  <a:cubicBezTo>
                    <a:pt x="1313" y="16"/>
                    <a:pt x="1390" y="92"/>
                    <a:pt x="1390" y="185"/>
                  </a:cubicBezTo>
                  <a:cubicBezTo>
                    <a:pt x="1390" y="278"/>
                    <a:pt x="1313" y="354"/>
                    <a:pt x="1219" y="354"/>
                  </a:cubicBezTo>
                  <a:lnTo>
                    <a:pt x="372" y="354"/>
                  </a:lnTo>
                  <a:lnTo>
                    <a:pt x="372" y="1518"/>
                  </a:lnTo>
                  <a:lnTo>
                    <a:pt x="1232" y="1518"/>
                  </a:lnTo>
                  <a:cubicBezTo>
                    <a:pt x="1327" y="1518"/>
                    <a:pt x="1404" y="1594"/>
                    <a:pt x="1404" y="1688"/>
                  </a:cubicBezTo>
                  <a:cubicBezTo>
                    <a:pt x="1404" y="1781"/>
                    <a:pt x="1327" y="1857"/>
                    <a:pt x="1232" y="1857"/>
                  </a:cubicBezTo>
                  <a:lnTo>
                    <a:pt x="196" y="1857"/>
                  </a:lnTo>
                  <a:close/>
                  <a:moveTo>
                    <a:pt x="590" y="1099"/>
                  </a:moveTo>
                  <a:lnTo>
                    <a:pt x="590" y="761"/>
                  </a:lnTo>
                  <a:lnTo>
                    <a:pt x="1628" y="761"/>
                  </a:lnTo>
                  <a:cubicBezTo>
                    <a:pt x="1723" y="761"/>
                    <a:pt x="1800" y="837"/>
                    <a:pt x="1800" y="930"/>
                  </a:cubicBezTo>
                  <a:cubicBezTo>
                    <a:pt x="1800" y="1023"/>
                    <a:pt x="1723" y="1099"/>
                    <a:pt x="1628" y="1099"/>
                  </a:cubicBezTo>
                  <a:lnTo>
                    <a:pt x="590" y="1099"/>
                  </a:lnTo>
                  <a:close/>
                  <a:moveTo>
                    <a:pt x="2806" y="831"/>
                  </a:moveTo>
                  <a:cubicBezTo>
                    <a:pt x="2757" y="831"/>
                    <a:pt x="2711" y="812"/>
                    <a:pt x="2677" y="777"/>
                  </a:cubicBezTo>
                  <a:cubicBezTo>
                    <a:pt x="2605" y="706"/>
                    <a:pt x="2606" y="588"/>
                    <a:pt x="2679" y="515"/>
                  </a:cubicBezTo>
                  <a:lnTo>
                    <a:pt x="3137" y="56"/>
                  </a:lnTo>
                  <a:cubicBezTo>
                    <a:pt x="3173" y="20"/>
                    <a:pt x="3220" y="0"/>
                    <a:pt x="3270" y="0"/>
                  </a:cubicBezTo>
                  <a:cubicBezTo>
                    <a:pt x="3319" y="0"/>
                    <a:pt x="3365" y="19"/>
                    <a:pt x="3399" y="54"/>
                  </a:cubicBezTo>
                  <a:cubicBezTo>
                    <a:pt x="3471" y="126"/>
                    <a:pt x="3470" y="243"/>
                    <a:pt x="3397" y="316"/>
                  </a:cubicBezTo>
                  <a:lnTo>
                    <a:pt x="2939" y="775"/>
                  </a:lnTo>
                  <a:cubicBezTo>
                    <a:pt x="2903" y="811"/>
                    <a:pt x="2856" y="831"/>
                    <a:pt x="2806" y="831"/>
                  </a:cubicBezTo>
                  <a:close/>
                  <a:moveTo>
                    <a:pt x="2252" y="831"/>
                  </a:moveTo>
                  <a:cubicBezTo>
                    <a:pt x="2202" y="831"/>
                    <a:pt x="2154" y="811"/>
                    <a:pt x="2119" y="775"/>
                  </a:cubicBezTo>
                  <a:lnTo>
                    <a:pt x="1660" y="316"/>
                  </a:lnTo>
                  <a:cubicBezTo>
                    <a:pt x="1588" y="243"/>
                    <a:pt x="1587" y="126"/>
                    <a:pt x="1658" y="54"/>
                  </a:cubicBezTo>
                  <a:cubicBezTo>
                    <a:pt x="1693" y="19"/>
                    <a:pt x="1739" y="0"/>
                    <a:pt x="1787" y="0"/>
                  </a:cubicBezTo>
                  <a:cubicBezTo>
                    <a:pt x="1837" y="0"/>
                    <a:pt x="1885" y="20"/>
                    <a:pt x="1920" y="56"/>
                  </a:cubicBezTo>
                  <a:lnTo>
                    <a:pt x="2379" y="515"/>
                  </a:lnTo>
                  <a:cubicBezTo>
                    <a:pt x="2451" y="588"/>
                    <a:pt x="2452" y="706"/>
                    <a:pt x="2381" y="777"/>
                  </a:cubicBezTo>
                  <a:cubicBezTo>
                    <a:pt x="2346" y="812"/>
                    <a:pt x="2300" y="831"/>
                    <a:pt x="2252" y="831"/>
                  </a:cubicBezTo>
                  <a:lnTo>
                    <a:pt x="2252" y="83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US" dirty="0"/>
            </a:p>
          </p:txBody>
        </p:sp>
      </p:gr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p:custDataLst>
              <p:tags r:id="rId2"/>
            </p:custDataLst>
            <p:extLst>
              <p:ext uri="{D42A27DB-BD31-4B8C-83A1-F6EECF244321}">
                <p14:modId xmlns:p14="http://schemas.microsoft.com/office/powerpoint/2010/main" val="308505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77" name="think-cell Folie" r:id="rId5" imgW="286" imgH="286" progId="TCLayout.ActiveDocument.1">
                  <p:embed/>
                </p:oleObj>
              </mc:Choice>
              <mc:Fallback>
                <p:oleObj name="think-cell Foli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US" sz="3000" b="1" i="0" baseline="0"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vert="horz" anchor="t" anchorCtr="0"/>
          <a:lstStyle>
            <a:lvl1pPr algn="l" rtl="0">
              <a:lnSpc>
                <a:spcPct val="100000"/>
              </a:lnSpc>
              <a:spcBef>
                <a:spcPts val="0"/>
              </a:spcBef>
              <a:defRPr sz="4300" b="1">
                <a:solidFill>
                  <a:schemeClr val="tx1"/>
                </a:solidFill>
              </a:defRPr>
            </a:lvl1pPr>
          </a:lstStyle>
          <a:p>
            <a:r>
              <a:rPr lang="en-US" noProof="0" dirty="0"/>
              <a:t>Presentation </a:t>
            </a:r>
            <a:br>
              <a:rPr lang="en-US" noProof="0" dirty="0"/>
            </a:br>
            <a:r>
              <a:rPr lang="en-US" noProof="0" dirty="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rtl="0">
              <a:lnSpc>
                <a:spcPct val="100000"/>
              </a:lnSpc>
              <a:spcBef>
                <a:spcPts val="0"/>
              </a:spcBef>
              <a:spcAft>
                <a:spcPts val="0"/>
              </a:spcAft>
              <a:buNone/>
              <a:defRPr sz="2400">
                <a:solidFill>
                  <a:schemeClr val="tx2"/>
                </a:solidFill>
                <a:latin typeface="+mn-lt"/>
                <a:cs typeface="Abadi MT Condensed Extra Bold"/>
              </a:defRPr>
            </a:lvl1pPr>
            <a:lvl2pPr marL="0" indent="0" algn="l">
              <a:lnSpc>
                <a:spcPct val="100000"/>
              </a:lnSpc>
              <a:spcAft>
                <a:spcPts val="0"/>
              </a:spcAft>
              <a:buNone/>
              <a:defRPr sz="2400">
                <a:solidFill>
                  <a:schemeClr val="tx2"/>
                </a:solidFill>
              </a:defRPr>
            </a:lvl2pPr>
            <a:lvl3pPr marL="0" indent="0" algn="l">
              <a:lnSpc>
                <a:spcPct val="100000"/>
              </a:lnSpc>
              <a:spcAft>
                <a:spcPts val="0"/>
              </a:spcAft>
              <a:buNone/>
              <a:defRPr sz="2400">
                <a:solidFill>
                  <a:schemeClr val="tx2"/>
                </a:solidFill>
              </a:defRPr>
            </a:lvl3pPr>
            <a:lvl4pPr marL="0" indent="0" algn="l">
              <a:lnSpc>
                <a:spcPct val="100000"/>
              </a:lnSpc>
              <a:spcAft>
                <a:spcPts val="0"/>
              </a:spcAft>
              <a:buNone/>
              <a:defRPr sz="2400">
                <a:solidFill>
                  <a:schemeClr val="tx2"/>
                </a:solidFill>
              </a:defRPr>
            </a:lvl4pPr>
            <a:lvl5pPr marL="0" indent="0" algn="l">
              <a:lnSpc>
                <a:spcPct val="100000"/>
              </a:lnSpc>
              <a:spcAft>
                <a:spcPts val="0"/>
              </a:spcAft>
              <a:buNone/>
              <a:defRPr sz="2400">
                <a:solidFill>
                  <a:schemeClr val="tx2"/>
                </a:solidFill>
              </a:defRPr>
            </a:lvl5pPr>
            <a:lvl6pPr marL="0" indent="0" algn="l">
              <a:lnSpc>
                <a:spcPct val="100000"/>
              </a:lnSpc>
              <a:spcAft>
                <a:spcPts val="0"/>
              </a:spcAft>
              <a:buNone/>
              <a:defRPr sz="2400">
                <a:solidFill>
                  <a:schemeClr val="tx2"/>
                </a:solidFill>
              </a:defRPr>
            </a:lvl6pPr>
            <a:lvl7pPr marL="0" indent="0" algn="l">
              <a:lnSpc>
                <a:spcPct val="100000"/>
              </a:lnSpc>
              <a:spcAft>
                <a:spcPts val="0"/>
              </a:spcAft>
              <a:buNone/>
              <a:defRPr sz="2400">
                <a:solidFill>
                  <a:schemeClr val="tx2"/>
                </a:solidFill>
              </a:defRPr>
            </a:lvl7pPr>
            <a:lvl8pPr marL="0" indent="0" algn="l">
              <a:lnSpc>
                <a:spcPct val="100000"/>
              </a:lnSpc>
              <a:spcAft>
                <a:spcPts val="0"/>
              </a:spcAft>
              <a:buNone/>
              <a:defRPr sz="2400">
                <a:solidFill>
                  <a:schemeClr val="tx2"/>
                </a:solidFill>
              </a:defRPr>
            </a:lvl8pPr>
            <a:lvl9pPr marL="0" indent="0" algn="l">
              <a:lnSpc>
                <a:spcPct val="100000"/>
              </a:lnSpc>
              <a:spcAft>
                <a:spcPts val="0"/>
              </a:spcAft>
              <a:buNone/>
              <a:defRPr sz="2400">
                <a:solidFill>
                  <a:schemeClr val="tx2"/>
                </a:solidFill>
              </a:defRPr>
            </a:lvl9pPr>
          </a:lstStyle>
          <a:p>
            <a:r>
              <a:rPr lang="en-US" noProof="0" dirty="0"/>
              <a:t>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gray">
          <a:xfrm>
            <a:off x="586817" y="4689140"/>
            <a:ext cx="3529571" cy="288032"/>
          </a:xfrm>
        </p:spPr>
        <p:txBody>
          <a:bodyPr anchor="t"/>
          <a:lstStyle>
            <a:lvl1pPr marL="0" indent="0" algn="l" rtl="0">
              <a:lnSpc>
                <a:spcPct val="100000"/>
              </a:lnSpc>
              <a:spcBef>
                <a:spcPts val="0"/>
              </a:spcBef>
              <a:spcAft>
                <a:spcPts val="0"/>
              </a:spcAft>
              <a:buFontTx/>
              <a:buNone/>
              <a:defRPr sz="1400"/>
            </a:lvl1pPr>
            <a:lvl2pPr marL="0" indent="0">
              <a:lnSpc>
                <a:spcPct val="100000"/>
              </a:lnSpc>
              <a:spcBef>
                <a:spcPts val="0"/>
              </a:spcBef>
              <a:spcAft>
                <a:spcPts val="0"/>
              </a:spcAft>
              <a:buFontTx/>
              <a:buNone/>
              <a:defRPr sz="1400"/>
            </a:lvl2pPr>
            <a:lvl3pPr marL="0" indent="0">
              <a:lnSpc>
                <a:spcPct val="100000"/>
              </a:lnSpc>
              <a:spcBef>
                <a:spcPts val="0"/>
              </a:spcBef>
              <a:spcAft>
                <a:spcPts val="0"/>
              </a:spcAft>
              <a:buFontTx/>
              <a:buNone/>
              <a:defRPr sz="1400"/>
            </a:lvl3pPr>
            <a:lvl4pPr marL="0" indent="0">
              <a:lnSpc>
                <a:spcPct val="100000"/>
              </a:lnSpc>
              <a:spcBef>
                <a:spcPts val="0"/>
              </a:spcBef>
              <a:spcAft>
                <a:spcPts val="0"/>
              </a:spcAft>
              <a:buFontTx/>
              <a:buNone/>
              <a:defRPr sz="1400"/>
            </a:lvl4pPr>
            <a:lvl5pPr marL="0" indent="0">
              <a:lnSpc>
                <a:spcPct val="100000"/>
              </a:lnSpc>
              <a:spcBef>
                <a:spcPts val="0"/>
              </a:spcBef>
              <a:spcAft>
                <a:spcPts val="0"/>
              </a:spcAft>
              <a:buFontTx/>
              <a:buNone/>
              <a:defRPr sz="1400"/>
            </a:lvl5pPr>
            <a:lvl6pPr marL="0" indent="0">
              <a:lnSpc>
                <a:spcPct val="100000"/>
              </a:lnSpc>
              <a:spcBef>
                <a:spcPts val="0"/>
              </a:spcBef>
              <a:spcAft>
                <a:spcPts val="0"/>
              </a:spcAft>
              <a:buFontTx/>
              <a:buNone/>
              <a:defRPr sz="1400"/>
            </a:lvl6pPr>
            <a:lvl7pPr marL="0" indent="0">
              <a:lnSpc>
                <a:spcPct val="100000"/>
              </a:lnSpc>
              <a:spcBef>
                <a:spcPts val="0"/>
              </a:spcBef>
              <a:spcAft>
                <a:spcPts val="0"/>
              </a:spcAft>
              <a:buFontTx/>
              <a:buNone/>
              <a:defRPr sz="1400"/>
            </a:lvl7pPr>
            <a:lvl8pPr marL="0" indent="0">
              <a:lnSpc>
                <a:spcPct val="100000"/>
              </a:lnSpc>
              <a:spcBef>
                <a:spcPts val="0"/>
              </a:spcBef>
              <a:spcAft>
                <a:spcPts val="0"/>
              </a:spcAft>
              <a:buFontTx/>
              <a:buNone/>
              <a:defRPr sz="1400"/>
            </a:lvl8pPr>
            <a:lvl9pPr marL="0" indent="0">
              <a:lnSpc>
                <a:spcPct val="100000"/>
              </a:lnSpc>
              <a:spcBef>
                <a:spcPts val="0"/>
              </a:spcBef>
              <a:spcAft>
                <a:spcPts val="0"/>
              </a:spcAft>
              <a:buFontTx/>
              <a:buNone/>
              <a:defRPr sz="1400"/>
            </a:lvl9pPr>
          </a:lstStyle>
          <a:p>
            <a:fld id="{56788EF7-8057-43C1-9468-9990A2FA1CBC}" type="datetime1">
              <a:rPr lang="en-US"/>
              <a:t>1/16/2022</a:t>
            </a:fld>
            <a:endParaRPr lang="en-US" dirty="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bwMode="gray">
          <a:xfrm>
            <a:off x="601200" y="476936"/>
            <a:ext cx="3638169" cy="329870"/>
          </a:xfrm>
          <a:prstGeom prst="rect">
            <a:avLst/>
          </a:prstGeom>
        </p:spPr>
      </p:pic>
    </p:spTree>
    <p:extLst>
      <p:ext uri="{BB962C8B-B14F-4D97-AF65-F5344CB8AC3E}">
        <p14:creationId xmlns:p14="http://schemas.microsoft.com/office/powerpoint/2010/main" val="16516483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 Picture light">
    <p:bg>
      <p:bgPr>
        <a:solidFill>
          <a:schemeClr val="accent4"/>
        </a:solidFill>
        <a:effectLst/>
      </p:bgPr>
    </p:bg>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BC608807-1C94-465C-9DEF-9329E2C0B493}"/>
              </a:ext>
            </a:extLst>
          </p:cNvPr>
          <p:cNvSpPr>
            <a:spLocks noGrp="1"/>
          </p:cNvSpPr>
          <p:nvPr>
            <p:ph type="pic" sz="quarter" idx="11" hasCustomPrompt="1"/>
          </p:nvPr>
        </p:nvSpPr>
        <p:spPr bwMode="gray">
          <a:xfrm>
            <a:off x="0" y="0"/>
            <a:ext cx="12191994" cy="6857997"/>
          </a:xfrm>
          <a:custGeom>
            <a:avLst/>
            <a:gdLst>
              <a:gd name="connsiteX0" fmla="*/ 0 w 12191994"/>
              <a:gd name="connsiteY0" fmla="*/ 0 h 6857997"/>
              <a:gd name="connsiteX1" fmla="*/ 10798169 w 12191994"/>
              <a:gd name="connsiteY1" fmla="*/ 0 h 6857997"/>
              <a:gd name="connsiteX2" fmla="*/ 10798169 w 12191994"/>
              <a:gd name="connsiteY2" fmla="*/ 3175 h 6857997"/>
              <a:gd name="connsiteX3" fmla="*/ 10804526 w 12191994"/>
              <a:gd name="connsiteY3" fmla="*/ 3175 h 6857997"/>
              <a:gd name="connsiteX4" fmla="*/ 10804526 w 12191994"/>
              <a:gd name="connsiteY4" fmla="*/ 730423 h 6857997"/>
              <a:gd name="connsiteX5" fmla="*/ 11209339 w 12191994"/>
              <a:gd name="connsiteY5" fmla="*/ 1135064 h 6857997"/>
              <a:gd name="connsiteX6" fmla="*/ 11614151 w 12191994"/>
              <a:gd name="connsiteY6" fmla="*/ 730423 h 6857997"/>
              <a:gd name="connsiteX7" fmla="*/ 11614151 w 12191994"/>
              <a:gd name="connsiteY7" fmla="*/ 3175 h 6857997"/>
              <a:gd name="connsiteX8" fmla="*/ 11617319 w 12191994"/>
              <a:gd name="connsiteY8" fmla="*/ 3175 h 6857997"/>
              <a:gd name="connsiteX9" fmla="*/ 11617319 w 12191994"/>
              <a:gd name="connsiteY9" fmla="*/ 0 h 6857997"/>
              <a:gd name="connsiteX10" fmla="*/ 12191994 w 12191994"/>
              <a:gd name="connsiteY10" fmla="*/ 0 h 6857997"/>
              <a:gd name="connsiteX11" fmla="*/ 12191994 w 12191994"/>
              <a:gd name="connsiteY11" fmla="*/ 6857997 h 6857997"/>
              <a:gd name="connsiteX12" fmla="*/ 0 w 12191994"/>
              <a:gd name="connsiteY12"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1994" h="6857997">
                <a:moveTo>
                  <a:pt x="0" y="0"/>
                </a:moveTo>
                <a:lnTo>
                  <a:pt x="10798169" y="0"/>
                </a:lnTo>
                <a:lnTo>
                  <a:pt x="10798169" y="3175"/>
                </a:lnTo>
                <a:lnTo>
                  <a:pt x="10804526" y="3175"/>
                </a:lnTo>
                <a:lnTo>
                  <a:pt x="10804526" y="730423"/>
                </a:lnTo>
                <a:cubicBezTo>
                  <a:pt x="10804526" y="953909"/>
                  <a:pt x="10985834" y="1135064"/>
                  <a:pt x="11209339" y="1135064"/>
                </a:cubicBezTo>
                <a:cubicBezTo>
                  <a:pt x="11433015" y="1135064"/>
                  <a:pt x="11614151" y="953909"/>
                  <a:pt x="11614151" y="730423"/>
                </a:cubicBezTo>
                <a:lnTo>
                  <a:pt x="11614151" y="3175"/>
                </a:lnTo>
                <a:lnTo>
                  <a:pt x="11617319" y="3175"/>
                </a:lnTo>
                <a:lnTo>
                  <a:pt x="11617319" y="0"/>
                </a:lnTo>
                <a:lnTo>
                  <a:pt x="12191994" y="0"/>
                </a:lnTo>
                <a:lnTo>
                  <a:pt x="12191994" y="6857997"/>
                </a:lnTo>
                <a:lnTo>
                  <a:pt x="0" y="6857997"/>
                </a:lnTo>
                <a:close/>
              </a:path>
            </a:pathLst>
          </a:custGeom>
          <a:noFill/>
          <a:ln w="0">
            <a:solidFill>
              <a:schemeClr val="accent4">
                <a:alpha val="0"/>
              </a:schemeClr>
            </a:solidFill>
          </a:ln>
        </p:spPr>
        <p:txBody>
          <a:bodyPr wrap="square" anchor="ctr">
            <a:noAutofit/>
          </a:bodyPr>
          <a:lstStyle>
            <a:lvl1pPr algn="ctr" rtl="0">
              <a:defRPr sz="1400"/>
            </a:lvl1pPr>
          </a:lstStyle>
          <a:p>
            <a:r>
              <a:rPr lang="en-US" noProof="0" dirty="0"/>
              <a:t> </a:t>
            </a:r>
          </a:p>
        </p:txBody>
      </p:sp>
      <p:sp>
        <p:nvSpPr>
          <p:cNvPr id="12" name="Textplatzhalter 5">
            <a:extLst>
              <a:ext uri="{FF2B5EF4-FFF2-40B4-BE49-F238E27FC236}">
                <a16:creationId xmlns:a16="http://schemas.microsoft.com/office/drawing/2014/main" id="{818C76A0-A84A-4A26-A5A7-F6B7377D6E2B}"/>
              </a:ext>
            </a:extLst>
          </p:cNvPr>
          <p:cNvSpPr>
            <a:spLocks noGrp="1"/>
          </p:cNvSpPr>
          <p:nvPr>
            <p:ph type="body" sz="quarter" idx="14" hasCustomPrompt="1"/>
          </p:nvPr>
        </p:nvSpPr>
        <p:spPr bwMode="gray">
          <a:xfrm>
            <a:off x="601200" y="476580"/>
            <a:ext cx="3639600" cy="331200"/>
          </a:xfrm>
          <a:blipFill dpi="0" rotWithShape="1">
            <a:blip r:embed="rId5">
              <a:extLst>
                <a:ext uri="{28A0092B-C50C-407E-A947-70E740481C1C}">
                  <a14:useLocalDpi xmlns:a14="http://schemas.microsoft.com/office/drawing/2010/main" val="0"/>
                </a:ext>
              </a:extLst>
            </a:blip>
            <a:srcRect/>
            <a:stretch>
              <a:fillRect/>
            </a:stretch>
          </a:blipFill>
          <a:ln w="127">
            <a:solidFill>
              <a:schemeClr val="bg1">
                <a:alpha val="0"/>
              </a:schemeClr>
            </a:solidFill>
          </a:ln>
        </p:spPr>
        <p:txBody>
          <a:bodyPr/>
          <a:lstStyle>
            <a:lvl1pPr marL="0" indent="0" algn="l" rtl="0">
              <a:lnSpc>
                <a:spcPct val="100000"/>
              </a:lnSpc>
              <a:spcAft>
                <a:spcPts val="0"/>
              </a:spcAft>
              <a:buFont typeface="Arial" panose="020B0604020202020204" pitchFamily="34" charset="0"/>
              <a:buNone/>
              <a:defRPr sz="100"/>
            </a:lvl1pPr>
            <a:lvl2pPr marL="0" indent="0" algn="l">
              <a:lnSpc>
                <a:spcPct val="100000"/>
              </a:lnSpc>
              <a:spcAft>
                <a:spcPts val="0"/>
              </a:spcAft>
              <a:buNone/>
              <a:defRPr sz="100"/>
            </a:lvl2pPr>
            <a:lvl3pPr marL="0" indent="0" algn="l">
              <a:lnSpc>
                <a:spcPct val="100000"/>
              </a:lnSpc>
              <a:spcAft>
                <a:spcPts val="0"/>
              </a:spcAft>
              <a:buNone/>
              <a:defRPr sz="100"/>
            </a:lvl3pPr>
            <a:lvl4pPr marL="0" indent="0" algn="l">
              <a:lnSpc>
                <a:spcPct val="100000"/>
              </a:lnSpc>
              <a:spcAft>
                <a:spcPts val="0"/>
              </a:spcAft>
              <a:buFont typeface="Arial" panose="020B0604020202020204" pitchFamily="34" charset="0"/>
              <a:buNone/>
              <a:defRPr sz="100"/>
            </a:lvl4pPr>
            <a:lvl5pPr marL="0" indent="0" algn="l">
              <a:lnSpc>
                <a:spcPct val="100000"/>
              </a:lnSpc>
              <a:spcAft>
                <a:spcPts val="0"/>
              </a:spcAft>
              <a:buNone/>
              <a:defRPr sz="100"/>
            </a:lvl5pPr>
            <a:lvl6pPr marL="0" indent="0" algn="l">
              <a:lnSpc>
                <a:spcPct val="100000"/>
              </a:lnSpc>
              <a:spcAft>
                <a:spcPts val="0"/>
              </a:spcAft>
              <a:buNone/>
              <a:defRPr sz="100"/>
            </a:lvl6pPr>
            <a:lvl7pPr marL="0" indent="0" algn="l">
              <a:lnSpc>
                <a:spcPct val="100000"/>
              </a:lnSpc>
              <a:spcAft>
                <a:spcPts val="0"/>
              </a:spcAft>
              <a:buFont typeface="Arial" panose="020B0604020202020204" pitchFamily="34" charset="0"/>
              <a:buNone/>
              <a:defRPr sz="100"/>
            </a:lvl7pPr>
            <a:lvl8pPr marL="0" indent="0" algn="l">
              <a:lnSpc>
                <a:spcPct val="100000"/>
              </a:lnSpc>
              <a:spcAft>
                <a:spcPts val="0"/>
              </a:spcAft>
              <a:buNone/>
              <a:defRPr sz="100"/>
            </a:lvl8pPr>
            <a:lvl9pPr marL="0" indent="0" algn="l">
              <a:lnSpc>
                <a:spcPct val="100000"/>
              </a:lnSpc>
              <a:spcAft>
                <a:spcPts val="0"/>
              </a:spcAft>
              <a:buNone/>
              <a:defRPr sz="100"/>
            </a:lvl9pPr>
          </a:lstStyle>
          <a:p>
            <a:pPr lvl="0"/>
            <a:r>
              <a:rPr lang="en-US" noProof="0" dirty="0"/>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p:custDataLst>
              <p:tags r:id="rId2"/>
            </p:custDataLst>
            <p:extLst>
              <p:ext uri="{D42A27DB-BD31-4B8C-83A1-F6EECF244321}">
                <p14:modId xmlns:p14="http://schemas.microsoft.com/office/powerpoint/2010/main" val="279242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01" name="think-cell Folie" r:id="rId6" imgW="286" imgH="286" progId="TCLayout.ActiveDocument.1">
                  <p:embed/>
                </p:oleObj>
              </mc:Choice>
              <mc:Fallback>
                <p:oleObj name="think-cell Folie" r:id="rId6"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US" sz="4300" b="1" i="0" baseline="0"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vert="horz" anchor="t" anchorCtr="0"/>
          <a:lstStyle>
            <a:lvl1pPr algn="l" rtl="0">
              <a:lnSpc>
                <a:spcPct val="100000"/>
              </a:lnSpc>
              <a:spcBef>
                <a:spcPts val="0"/>
              </a:spcBef>
              <a:defRPr sz="4300" b="1">
                <a:solidFill>
                  <a:schemeClr val="tx1"/>
                </a:solidFill>
              </a:defRPr>
            </a:lvl1pPr>
          </a:lstStyle>
          <a:p>
            <a:r>
              <a:rPr lang="en-US" noProof="0" dirty="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rtl="0">
              <a:lnSpc>
                <a:spcPct val="100000"/>
              </a:lnSpc>
              <a:spcBef>
                <a:spcPts val="0"/>
              </a:spcBef>
              <a:spcAft>
                <a:spcPts val="0"/>
              </a:spcAft>
              <a:buNone/>
              <a:defRPr sz="2400">
                <a:solidFill>
                  <a:schemeClr val="tx1"/>
                </a:solidFill>
                <a:latin typeface="+mn-lt"/>
                <a:cs typeface="Abadi MT Condensed Extra Bold"/>
              </a:defRPr>
            </a:lvl1pPr>
            <a:lvl2pPr marL="0" indent="0" algn="l">
              <a:lnSpc>
                <a:spcPct val="100000"/>
              </a:lnSpc>
              <a:spcAft>
                <a:spcPts val="0"/>
              </a:spcAft>
              <a:buNone/>
              <a:defRPr sz="2400"/>
            </a:lvl2pPr>
            <a:lvl3pPr marL="0" indent="0" algn="l">
              <a:lnSpc>
                <a:spcPct val="100000"/>
              </a:lnSpc>
              <a:spcAft>
                <a:spcPts val="0"/>
              </a:spcAft>
              <a:buNone/>
              <a:defRPr sz="2400"/>
            </a:lvl3pPr>
            <a:lvl4pPr marL="0" indent="0" algn="l">
              <a:lnSpc>
                <a:spcPct val="100000"/>
              </a:lnSpc>
              <a:spcAft>
                <a:spcPts val="0"/>
              </a:spcAft>
              <a:buNone/>
              <a:defRPr sz="2400"/>
            </a:lvl4pPr>
            <a:lvl5pPr marL="0" indent="0" algn="l">
              <a:lnSpc>
                <a:spcPct val="100000"/>
              </a:lnSpc>
              <a:spcAft>
                <a:spcPts val="0"/>
              </a:spcAft>
              <a:buNone/>
              <a:defRPr sz="2400"/>
            </a:lvl5pPr>
            <a:lvl6pPr marL="0" indent="0" algn="l">
              <a:lnSpc>
                <a:spcPct val="100000"/>
              </a:lnSpc>
              <a:spcAft>
                <a:spcPts val="0"/>
              </a:spcAft>
              <a:buNone/>
              <a:defRPr sz="2400"/>
            </a:lvl6pPr>
            <a:lvl7pPr marL="0" indent="0" algn="l">
              <a:lnSpc>
                <a:spcPct val="100000"/>
              </a:lnSpc>
              <a:spcAft>
                <a:spcPts val="0"/>
              </a:spcAft>
              <a:buNone/>
              <a:defRPr sz="2400"/>
            </a:lvl7pPr>
            <a:lvl8pPr marL="0" indent="0" algn="l">
              <a:lnSpc>
                <a:spcPct val="100000"/>
              </a:lnSpc>
              <a:spcAft>
                <a:spcPts val="0"/>
              </a:spcAft>
              <a:buNone/>
              <a:defRPr sz="2400"/>
            </a:lvl8pPr>
            <a:lvl9pPr marL="0" indent="0" algn="l">
              <a:lnSpc>
                <a:spcPct val="100000"/>
              </a:lnSpc>
              <a:spcAft>
                <a:spcPts val="0"/>
              </a:spcAft>
              <a:buNone/>
              <a:defRPr sz="2400"/>
            </a:lvl9pPr>
          </a:lstStyle>
          <a:p>
            <a:r>
              <a:rPr lang="en-US" noProof="0" dirty="0"/>
              <a:t>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gray">
          <a:xfrm>
            <a:off x="586817" y="4689140"/>
            <a:ext cx="3529571" cy="288032"/>
          </a:xfrm>
        </p:spPr>
        <p:txBody>
          <a:bodyPr anchor="t"/>
          <a:lstStyle>
            <a:lvl1pPr marL="0" indent="0" algn="l" rtl="0">
              <a:lnSpc>
                <a:spcPct val="100000"/>
              </a:lnSpc>
              <a:spcBef>
                <a:spcPts val="0"/>
              </a:spcBef>
              <a:spcAft>
                <a:spcPts val="0"/>
              </a:spcAft>
              <a:buFontTx/>
              <a:buNone/>
              <a:defRPr sz="1400"/>
            </a:lvl1pPr>
            <a:lvl2pPr marL="0" indent="0">
              <a:lnSpc>
                <a:spcPct val="100000"/>
              </a:lnSpc>
              <a:spcBef>
                <a:spcPts val="0"/>
              </a:spcBef>
              <a:spcAft>
                <a:spcPts val="0"/>
              </a:spcAft>
              <a:buFontTx/>
              <a:buNone/>
              <a:defRPr sz="1400"/>
            </a:lvl2pPr>
            <a:lvl3pPr marL="0" indent="0">
              <a:lnSpc>
                <a:spcPct val="100000"/>
              </a:lnSpc>
              <a:spcBef>
                <a:spcPts val="0"/>
              </a:spcBef>
              <a:spcAft>
                <a:spcPts val="0"/>
              </a:spcAft>
              <a:buFontTx/>
              <a:buNone/>
              <a:defRPr sz="1400"/>
            </a:lvl3pPr>
            <a:lvl4pPr marL="0" indent="0">
              <a:lnSpc>
                <a:spcPct val="100000"/>
              </a:lnSpc>
              <a:spcBef>
                <a:spcPts val="0"/>
              </a:spcBef>
              <a:spcAft>
                <a:spcPts val="0"/>
              </a:spcAft>
              <a:buFontTx/>
              <a:buNone/>
              <a:defRPr sz="1400"/>
            </a:lvl4pPr>
            <a:lvl5pPr marL="0" indent="0">
              <a:lnSpc>
                <a:spcPct val="100000"/>
              </a:lnSpc>
              <a:spcBef>
                <a:spcPts val="0"/>
              </a:spcBef>
              <a:spcAft>
                <a:spcPts val="0"/>
              </a:spcAft>
              <a:buFontTx/>
              <a:buNone/>
              <a:defRPr sz="1400"/>
            </a:lvl5pPr>
            <a:lvl6pPr marL="0" indent="0">
              <a:lnSpc>
                <a:spcPct val="100000"/>
              </a:lnSpc>
              <a:spcBef>
                <a:spcPts val="0"/>
              </a:spcBef>
              <a:spcAft>
                <a:spcPts val="0"/>
              </a:spcAft>
              <a:buFontTx/>
              <a:buNone/>
              <a:defRPr sz="1400"/>
            </a:lvl6pPr>
            <a:lvl7pPr marL="0" indent="0">
              <a:lnSpc>
                <a:spcPct val="100000"/>
              </a:lnSpc>
              <a:spcBef>
                <a:spcPts val="0"/>
              </a:spcBef>
              <a:spcAft>
                <a:spcPts val="0"/>
              </a:spcAft>
              <a:buFontTx/>
              <a:buNone/>
              <a:defRPr sz="1400"/>
            </a:lvl7pPr>
            <a:lvl8pPr marL="0" indent="0">
              <a:lnSpc>
                <a:spcPct val="100000"/>
              </a:lnSpc>
              <a:spcBef>
                <a:spcPts val="0"/>
              </a:spcBef>
              <a:spcAft>
                <a:spcPts val="0"/>
              </a:spcAft>
              <a:buFontTx/>
              <a:buNone/>
              <a:defRPr sz="1400"/>
            </a:lvl8pPr>
            <a:lvl9pPr marL="0" indent="0">
              <a:lnSpc>
                <a:spcPct val="100000"/>
              </a:lnSpc>
              <a:spcBef>
                <a:spcPts val="0"/>
              </a:spcBef>
              <a:spcAft>
                <a:spcPts val="0"/>
              </a:spcAft>
              <a:buFontTx/>
              <a:buNone/>
              <a:defRPr sz="1400"/>
            </a:lvl9pPr>
          </a:lstStyle>
          <a:p>
            <a:fld id="{D13A899D-1D3E-4183-BBC6-983CE640A114}" type="datetime1">
              <a:rPr lang="en-US"/>
              <a:t>1/16/2022</a:t>
            </a:fld>
            <a:endParaRPr lang="en-US" dirty="0"/>
          </a:p>
        </p:txBody>
      </p:sp>
      <p:grpSp>
        <p:nvGrpSpPr>
          <p:cNvPr id="16" name="Gruppieren 15">
            <a:extLst>
              <a:ext uri="{FF2B5EF4-FFF2-40B4-BE49-F238E27FC236}">
                <a16:creationId xmlns:a16="http://schemas.microsoft.com/office/drawing/2014/main" id="{DDACB356-7CA0-4AAB-A780-4444172A0E73}"/>
              </a:ext>
            </a:extLst>
          </p:cNvPr>
          <p:cNvGrpSpPr/>
          <p:nvPr userDrawn="1"/>
        </p:nvGrpSpPr>
        <p:grpSpPr bwMode="gray">
          <a:xfrm>
            <a:off x="10804526" y="1"/>
            <a:ext cx="809625" cy="1135063"/>
            <a:chOff x="10804526" y="1"/>
            <a:chExt cx="809625" cy="1135063"/>
          </a:xfrm>
        </p:grpSpPr>
        <p:sp>
          <p:nvSpPr>
            <p:cNvPr id="17" name="Freihandform: Form 16">
              <a:extLst>
                <a:ext uri="{FF2B5EF4-FFF2-40B4-BE49-F238E27FC236}">
                  <a16:creationId xmlns:a16="http://schemas.microsoft.com/office/drawing/2014/main" id="{9F0CB56B-AE8A-4C5A-B6E3-856E3B2E030D}"/>
                </a:ext>
              </a:extLst>
            </p:cNvPr>
            <p:cNvSpPr/>
            <p:nvPr userDrawn="1"/>
          </p:nvSpPr>
          <p:spPr bwMode="gray">
            <a:xfrm>
              <a:off x="10804526" y="1"/>
              <a:ext cx="809625" cy="1135063"/>
            </a:xfrm>
            <a:custGeom>
              <a:avLst/>
              <a:gdLst>
                <a:gd name="connsiteX0" fmla="*/ 0 w 809625"/>
                <a:gd name="connsiteY0" fmla="*/ 0 h 1135063"/>
                <a:gd name="connsiteX1" fmla="*/ 809625 w 809625"/>
                <a:gd name="connsiteY1" fmla="*/ 0 h 1135063"/>
                <a:gd name="connsiteX2" fmla="*/ 809625 w 809625"/>
                <a:gd name="connsiteY2" fmla="*/ 730422 h 1135063"/>
                <a:gd name="connsiteX3" fmla="*/ 404813 w 809625"/>
                <a:gd name="connsiteY3" fmla="*/ 1135063 h 1135063"/>
                <a:gd name="connsiteX4" fmla="*/ 0 w 809625"/>
                <a:gd name="connsiteY4" fmla="*/ 730422 h 1135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1135063">
                  <a:moveTo>
                    <a:pt x="0" y="0"/>
                  </a:moveTo>
                  <a:lnTo>
                    <a:pt x="809625" y="0"/>
                  </a:lnTo>
                  <a:lnTo>
                    <a:pt x="809625" y="730422"/>
                  </a:lnTo>
                  <a:cubicBezTo>
                    <a:pt x="809625" y="953908"/>
                    <a:pt x="628489" y="1135063"/>
                    <a:pt x="404813" y="1135063"/>
                  </a:cubicBezTo>
                  <a:cubicBezTo>
                    <a:pt x="181308" y="1135063"/>
                    <a:pt x="0" y="953908"/>
                    <a:pt x="0" y="730422"/>
                  </a:cubicBezTo>
                  <a:close/>
                </a:path>
              </a:pathLst>
            </a:custGeom>
            <a:solidFill>
              <a:srgbClr val="20175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bIns="79200" rtlCol="0" anchor="ctr">
              <a:noAutofit/>
            </a:bodyPr>
            <a:lstStyle/>
            <a:p>
              <a:pPr algn="ctr" rtl="0"/>
              <a:endParaRPr lang="en-US" sz="1400" dirty="0"/>
            </a:p>
          </p:txBody>
        </p:sp>
        <p:sp>
          <p:nvSpPr>
            <p:cNvPr id="18" name="Freeform 17">
              <a:extLst>
                <a:ext uri="{FF2B5EF4-FFF2-40B4-BE49-F238E27FC236}">
                  <a16:creationId xmlns:a16="http://schemas.microsoft.com/office/drawing/2014/main" id="{F0348263-5996-4CFA-816A-194D88993BE1}"/>
                </a:ext>
              </a:extLst>
            </p:cNvPr>
            <p:cNvSpPr>
              <a:spLocks noEditPoints="1"/>
            </p:cNvSpPr>
            <p:nvPr userDrawn="1"/>
          </p:nvSpPr>
          <p:spPr bwMode="gray">
            <a:xfrm>
              <a:off x="10929938" y="487363"/>
              <a:ext cx="595313" cy="320675"/>
            </a:xfrm>
            <a:custGeom>
              <a:avLst/>
              <a:gdLst>
                <a:gd name="T0" fmla="*/ 3270 w 3471"/>
                <a:gd name="T1" fmla="*/ 1872 h 1872"/>
                <a:gd name="T2" fmla="*/ 3137 w 3471"/>
                <a:gd name="T3" fmla="*/ 1817 h 1872"/>
                <a:gd name="T4" fmla="*/ 2679 w 3471"/>
                <a:gd name="T5" fmla="*/ 1358 h 1872"/>
                <a:gd name="T6" fmla="*/ 2677 w 3471"/>
                <a:gd name="T7" fmla="*/ 1096 h 1872"/>
                <a:gd name="T8" fmla="*/ 2806 w 3471"/>
                <a:gd name="T9" fmla="*/ 1042 h 1872"/>
                <a:gd name="T10" fmla="*/ 2939 w 3471"/>
                <a:gd name="T11" fmla="*/ 1098 h 1872"/>
                <a:gd name="T12" fmla="*/ 3397 w 3471"/>
                <a:gd name="T13" fmla="*/ 1557 h 1872"/>
                <a:gd name="T14" fmla="*/ 3452 w 3471"/>
                <a:gd name="T15" fmla="*/ 1688 h 1872"/>
                <a:gd name="T16" fmla="*/ 3399 w 3471"/>
                <a:gd name="T17" fmla="*/ 1819 h 1872"/>
                <a:gd name="T18" fmla="*/ 3270 w 3471"/>
                <a:gd name="T19" fmla="*/ 1872 h 1872"/>
                <a:gd name="T20" fmla="*/ 3270 w 3471"/>
                <a:gd name="T21" fmla="*/ 1872 h 1872"/>
                <a:gd name="T22" fmla="*/ 1787 w 3471"/>
                <a:gd name="T23" fmla="*/ 1872 h 1872"/>
                <a:gd name="T24" fmla="*/ 1658 w 3471"/>
                <a:gd name="T25" fmla="*/ 1819 h 1872"/>
                <a:gd name="T26" fmla="*/ 1605 w 3471"/>
                <a:gd name="T27" fmla="*/ 1688 h 1872"/>
                <a:gd name="T28" fmla="*/ 1660 w 3471"/>
                <a:gd name="T29" fmla="*/ 1557 h 1872"/>
                <a:gd name="T30" fmla="*/ 2119 w 3471"/>
                <a:gd name="T31" fmla="*/ 1098 h 1872"/>
                <a:gd name="T32" fmla="*/ 2252 w 3471"/>
                <a:gd name="T33" fmla="*/ 1042 h 1872"/>
                <a:gd name="T34" fmla="*/ 2381 w 3471"/>
                <a:gd name="T35" fmla="*/ 1096 h 1872"/>
                <a:gd name="T36" fmla="*/ 2379 w 3471"/>
                <a:gd name="T37" fmla="*/ 1358 h 1872"/>
                <a:gd name="T38" fmla="*/ 1920 w 3471"/>
                <a:gd name="T39" fmla="*/ 1817 h 1872"/>
                <a:gd name="T40" fmla="*/ 1787 w 3471"/>
                <a:gd name="T41" fmla="*/ 1872 h 1872"/>
                <a:gd name="T42" fmla="*/ 1787 w 3471"/>
                <a:gd name="T43" fmla="*/ 1872 h 1872"/>
                <a:gd name="T44" fmla="*/ 196 w 3471"/>
                <a:gd name="T45" fmla="*/ 1857 h 1872"/>
                <a:gd name="T46" fmla="*/ 0 w 3471"/>
                <a:gd name="T47" fmla="*/ 1662 h 1872"/>
                <a:gd name="T48" fmla="*/ 0 w 3471"/>
                <a:gd name="T49" fmla="*/ 211 h 1872"/>
                <a:gd name="T50" fmla="*/ 196 w 3471"/>
                <a:gd name="T51" fmla="*/ 16 h 1872"/>
                <a:gd name="T52" fmla="*/ 1219 w 3471"/>
                <a:gd name="T53" fmla="*/ 16 h 1872"/>
                <a:gd name="T54" fmla="*/ 1390 w 3471"/>
                <a:gd name="T55" fmla="*/ 185 h 1872"/>
                <a:gd name="T56" fmla="*/ 1219 w 3471"/>
                <a:gd name="T57" fmla="*/ 354 h 1872"/>
                <a:gd name="T58" fmla="*/ 372 w 3471"/>
                <a:gd name="T59" fmla="*/ 354 h 1872"/>
                <a:gd name="T60" fmla="*/ 372 w 3471"/>
                <a:gd name="T61" fmla="*/ 1518 h 1872"/>
                <a:gd name="T62" fmla="*/ 1232 w 3471"/>
                <a:gd name="T63" fmla="*/ 1518 h 1872"/>
                <a:gd name="T64" fmla="*/ 1404 w 3471"/>
                <a:gd name="T65" fmla="*/ 1688 h 1872"/>
                <a:gd name="T66" fmla="*/ 1232 w 3471"/>
                <a:gd name="T67" fmla="*/ 1857 h 1872"/>
                <a:gd name="T68" fmla="*/ 196 w 3471"/>
                <a:gd name="T69" fmla="*/ 1857 h 1872"/>
                <a:gd name="T70" fmla="*/ 590 w 3471"/>
                <a:gd name="T71" fmla="*/ 1099 h 1872"/>
                <a:gd name="T72" fmla="*/ 590 w 3471"/>
                <a:gd name="T73" fmla="*/ 761 h 1872"/>
                <a:gd name="T74" fmla="*/ 1628 w 3471"/>
                <a:gd name="T75" fmla="*/ 761 h 1872"/>
                <a:gd name="T76" fmla="*/ 1800 w 3471"/>
                <a:gd name="T77" fmla="*/ 930 h 1872"/>
                <a:gd name="T78" fmla="*/ 1628 w 3471"/>
                <a:gd name="T79" fmla="*/ 1099 h 1872"/>
                <a:gd name="T80" fmla="*/ 590 w 3471"/>
                <a:gd name="T81" fmla="*/ 1099 h 1872"/>
                <a:gd name="T82" fmla="*/ 2806 w 3471"/>
                <a:gd name="T83" fmla="*/ 831 h 1872"/>
                <a:gd name="T84" fmla="*/ 2677 w 3471"/>
                <a:gd name="T85" fmla="*/ 777 h 1872"/>
                <a:gd name="T86" fmla="*/ 2679 w 3471"/>
                <a:gd name="T87" fmla="*/ 515 h 1872"/>
                <a:gd name="T88" fmla="*/ 3137 w 3471"/>
                <a:gd name="T89" fmla="*/ 56 h 1872"/>
                <a:gd name="T90" fmla="*/ 3270 w 3471"/>
                <a:gd name="T91" fmla="*/ 0 h 1872"/>
                <a:gd name="T92" fmla="*/ 3399 w 3471"/>
                <a:gd name="T93" fmla="*/ 54 h 1872"/>
                <a:gd name="T94" fmla="*/ 3397 w 3471"/>
                <a:gd name="T95" fmla="*/ 316 h 1872"/>
                <a:gd name="T96" fmla="*/ 2939 w 3471"/>
                <a:gd name="T97" fmla="*/ 775 h 1872"/>
                <a:gd name="T98" fmla="*/ 2806 w 3471"/>
                <a:gd name="T99" fmla="*/ 831 h 1872"/>
                <a:gd name="T100" fmla="*/ 2252 w 3471"/>
                <a:gd name="T101" fmla="*/ 831 h 1872"/>
                <a:gd name="T102" fmla="*/ 2119 w 3471"/>
                <a:gd name="T103" fmla="*/ 775 h 1872"/>
                <a:gd name="T104" fmla="*/ 1660 w 3471"/>
                <a:gd name="T105" fmla="*/ 316 h 1872"/>
                <a:gd name="T106" fmla="*/ 1658 w 3471"/>
                <a:gd name="T107" fmla="*/ 54 h 1872"/>
                <a:gd name="T108" fmla="*/ 1787 w 3471"/>
                <a:gd name="T109" fmla="*/ 0 h 1872"/>
                <a:gd name="T110" fmla="*/ 1920 w 3471"/>
                <a:gd name="T111" fmla="*/ 56 h 1872"/>
                <a:gd name="T112" fmla="*/ 2379 w 3471"/>
                <a:gd name="T113" fmla="*/ 515 h 1872"/>
                <a:gd name="T114" fmla="*/ 2381 w 3471"/>
                <a:gd name="T115" fmla="*/ 777 h 1872"/>
                <a:gd name="T116" fmla="*/ 2252 w 3471"/>
                <a:gd name="T117" fmla="*/ 831 h 1872"/>
                <a:gd name="T118" fmla="*/ 2252 w 3471"/>
                <a:gd name="T119" fmla="*/ 831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71" h="1872">
                  <a:moveTo>
                    <a:pt x="3270" y="1872"/>
                  </a:moveTo>
                  <a:cubicBezTo>
                    <a:pt x="3220" y="1872"/>
                    <a:pt x="3173" y="1853"/>
                    <a:pt x="3137" y="1817"/>
                  </a:cubicBezTo>
                  <a:lnTo>
                    <a:pt x="2679" y="1358"/>
                  </a:lnTo>
                  <a:cubicBezTo>
                    <a:pt x="2606" y="1285"/>
                    <a:pt x="2605" y="1167"/>
                    <a:pt x="2677" y="1096"/>
                  </a:cubicBezTo>
                  <a:cubicBezTo>
                    <a:pt x="2711" y="1061"/>
                    <a:pt x="2757" y="1042"/>
                    <a:pt x="2806" y="1042"/>
                  </a:cubicBezTo>
                  <a:cubicBezTo>
                    <a:pt x="2856" y="1042"/>
                    <a:pt x="2903" y="1062"/>
                    <a:pt x="2939" y="1098"/>
                  </a:cubicBezTo>
                  <a:lnTo>
                    <a:pt x="3397" y="1557"/>
                  </a:lnTo>
                  <a:cubicBezTo>
                    <a:pt x="3432" y="1592"/>
                    <a:pt x="3452" y="1639"/>
                    <a:pt x="3452" y="1688"/>
                  </a:cubicBezTo>
                  <a:cubicBezTo>
                    <a:pt x="3453" y="1738"/>
                    <a:pt x="3434" y="1784"/>
                    <a:pt x="3399" y="1819"/>
                  </a:cubicBezTo>
                  <a:cubicBezTo>
                    <a:pt x="3365" y="1854"/>
                    <a:pt x="3319" y="1872"/>
                    <a:pt x="3270" y="1872"/>
                  </a:cubicBezTo>
                  <a:lnTo>
                    <a:pt x="3270" y="1872"/>
                  </a:lnTo>
                  <a:close/>
                  <a:moveTo>
                    <a:pt x="1787" y="1872"/>
                  </a:moveTo>
                  <a:cubicBezTo>
                    <a:pt x="1739" y="1872"/>
                    <a:pt x="1693" y="1854"/>
                    <a:pt x="1658" y="1819"/>
                  </a:cubicBezTo>
                  <a:cubicBezTo>
                    <a:pt x="1624" y="1784"/>
                    <a:pt x="1605" y="1738"/>
                    <a:pt x="1605" y="1688"/>
                  </a:cubicBezTo>
                  <a:cubicBezTo>
                    <a:pt x="1605" y="1639"/>
                    <a:pt x="1625" y="1592"/>
                    <a:pt x="1660" y="1557"/>
                  </a:cubicBezTo>
                  <a:lnTo>
                    <a:pt x="2119" y="1098"/>
                  </a:lnTo>
                  <a:cubicBezTo>
                    <a:pt x="2154" y="1062"/>
                    <a:pt x="2202" y="1042"/>
                    <a:pt x="2252" y="1042"/>
                  </a:cubicBezTo>
                  <a:cubicBezTo>
                    <a:pt x="2300" y="1042"/>
                    <a:pt x="2346" y="1061"/>
                    <a:pt x="2381" y="1096"/>
                  </a:cubicBezTo>
                  <a:cubicBezTo>
                    <a:pt x="2452" y="1167"/>
                    <a:pt x="2451" y="1285"/>
                    <a:pt x="2379" y="1358"/>
                  </a:cubicBezTo>
                  <a:lnTo>
                    <a:pt x="1920" y="1817"/>
                  </a:lnTo>
                  <a:cubicBezTo>
                    <a:pt x="1885" y="1853"/>
                    <a:pt x="1837" y="1872"/>
                    <a:pt x="1787" y="1872"/>
                  </a:cubicBezTo>
                  <a:cubicBezTo>
                    <a:pt x="1787" y="1872"/>
                    <a:pt x="1787" y="1872"/>
                    <a:pt x="1787" y="1872"/>
                  </a:cubicBezTo>
                  <a:close/>
                  <a:moveTo>
                    <a:pt x="196" y="1857"/>
                  </a:moveTo>
                  <a:cubicBezTo>
                    <a:pt x="87" y="1857"/>
                    <a:pt x="0" y="1771"/>
                    <a:pt x="0" y="1662"/>
                  </a:cubicBezTo>
                  <a:lnTo>
                    <a:pt x="0" y="211"/>
                  </a:lnTo>
                  <a:cubicBezTo>
                    <a:pt x="0" y="102"/>
                    <a:pt x="87" y="16"/>
                    <a:pt x="196" y="16"/>
                  </a:cubicBezTo>
                  <a:lnTo>
                    <a:pt x="1219" y="16"/>
                  </a:lnTo>
                  <a:cubicBezTo>
                    <a:pt x="1313" y="16"/>
                    <a:pt x="1390" y="92"/>
                    <a:pt x="1390" y="185"/>
                  </a:cubicBezTo>
                  <a:cubicBezTo>
                    <a:pt x="1390" y="278"/>
                    <a:pt x="1313" y="354"/>
                    <a:pt x="1219" y="354"/>
                  </a:cubicBezTo>
                  <a:lnTo>
                    <a:pt x="372" y="354"/>
                  </a:lnTo>
                  <a:lnTo>
                    <a:pt x="372" y="1518"/>
                  </a:lnTo>
                  <a:lnTo>
                    <a:pt x="1232" y="1518"/>
                  </a:lnTo>
                  <a:cubicBezTo>
                    <a:pt x="1327" y="1518"/>
                    <a:pt x="1404" y="1594"/>
                    <a:pt x="1404" y="1688"/>
                  </a:cubicBezTo>
                  <a:cubicBezTo>
                    <a:pt x="1404" y="1781"/>
                    <a:pt x="1327" y="1857"/>
                    <a:pt x="1232" y="1857"/>
                  </a:cubicBezTo>
                  <a:lnTo>
                    <a:pt x="196" y="1857"/>
                  </a:lnTo>
                  <a:close/>
                  <a:moveTo>
                    <a:pt x="590" y="1099"/>
                  </a:moveTo>
                  <a:lnTo>
                    <a:pt x="590" y="761"/>
                  </a:lnTo>
                  <a:lnTo>
                    <a:pt x="1628" y="761"/>
                  </a:lnTo>
                  <a:cubicBezTo>
                    <a:pt x="1723" y="761"/>
                    <a:pt x="1800" y="837"/>
                    <a:pt x="1800" y="930"/>
                  </a:cubicBezTo>
                  <a:cubicBezTo>
                    <a:pt x="1800" y="1023"/>
                    <a:pt x="1723" y="1099"/>
                    <a:pt x="1628" y="1099"/>
                  </a:cubicBezTo>
                  <a:lnTo>
                    <a:pt x="590" y="1099"/>
                  </a:lnTo>
                  <a:close/>
                  <a:moveTo>
                    <a:pt x="2806" y="831"/>
                  </a:moveTo>
                  <a:cubicBezTo>
                    <a:pt x="2757" y="831"/>
                    <a:pt x="2711" y="812"/>
                    <a:pt x="2677" y="777"/>
                  </a:cubicBezTo>
                  <a:cubicBezTo>
                    <a:pt x="2605" y="706"/>
                    <a:pt x="2606" y="588"/>
                    <a:pt x="2679" y="515"/>
                  </a:cubicBezTo>
                  <a:lnTo>
                    <a:pt x="3137" y="56"/>
                  </a:lnTo>
                  <a:cubicBezTo>
                    <a:pt x="3173" y="20"/>
                    <a:pt x="3220" y="0"/>
                    <a:pt x="3270" y="0"/>
                  </a:cubicBezTo>
                  <a:cubicBezTo>
                    <a:pt x="3319" y="0"/>
                    <a:pt x="3365" y="19"/>
                    <a:pt x="3399" y="54"/>
                  </a:cubicBezTo>
                  <a:cubicBezTo>
                    <a:pt x="3471" y="126"/>
                    <a:pt x="3470" y="243"/>
                    <a:pt x="3397" y="316"/>
                  </a:cubicBezTo>
                  <a:lnTo>
                    <a:pt x="2939" y="775"/>
                  </a:lnTo>
                  <a:cubicBezTo>
                    <a:pt x="2903" y="811"/>
                    <a:pt x="2856" y="831"/>
                    <a:pt x="2806" y="831"/>
                  </a:cubicBezTo>
                  <a:close/>
                  <a:moveTo>
                    <a:pt x="2252" y="831"/>
                  </a:moveTo>
                  <a:cubicBezTo>
                    <a:pt x="2202" y="831"/>
                    <a:pt x="2154" y="811"/>
                    <a:pt x="2119" y="775"/>
                  </a:cubicBezTo>
                  <a:lnTo>
                    <a:pt x="1660" y="316"/>
                  </a:lnTo>
                  <a:cubicBezTo>
                    <a:pt x="1588" y="243"/>
                    <a:pt x="1587" y="126"/>
                    <a:pt x="1658" y="54"/>
                  </a:cubicBezTo>
                  <a:cubicBezTo>
                    <a:pt x="1693" y="19"/>
                    <a:pt x="1739" y="0"/>
                    <a:pt x="1787" y="0"/>
                  </a:cubicBezTo>
                  <a:cubicBezTo>
                    <a:pt x="1837" y="0"/>
                    <a:pt x="1885" y="20"/>
                    <a:pt x="1920" y="56"/>
                  </a:cubicBezTo>
                  <a:lnTo>
                    <a:pt x="2379" y="515"/>
                  </a:lnTo>
                  <a:cubicBezTo>
                    <a:pt x="2451" y="588"/>
                    <a:pt x="2452" y="706"/>
                    <a:pt x="2381" y="777"/>
                  </a:cubicBezTo>
                  <a:cubicBezTo>
                    <a:pt x="2346" y="812"/>
                    <a:pt x="2300" y="831"/>
                    <a:pt x="2252" y="831"/>
                  </a:cubicBezTo>
                  <a:lnTo>
                    <a:pt x="2252" y="831"/>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US" dirty="0"/>
            </a:p>
          </p:txBody>
        </p:sp>
      </p:grpSp>
    </p:spTree>
    <p:extLst>
      <p:ext uri="{BB962C8B-B14F-4D97-AF65-F5344CB8AC3E}">
        <p14:creationId xmlns:p14="http://schemas.microsoft.com/office/powerpoint/2010/main" val="239399166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 Picture dark">
    <p:bg>
      <p:bgPr>
        <a:solidFill>
          <a:srgbClr val="666666"/>
        </a:solidFill>
        <a:effectLst/>
      </p:bgPr>
    </p:bg>
    <p:spTree>
      <p:nvGrpSpPr>
        <p:cNvPr id="1" name=""/>
        <p:cNvGrpSpPr/>
        <p:nvPr/>
      </p:nvGrpSpPr>
      <p:grpSpPr>
        <a:xfrm>
          <a:off x="0" y="0"/>
          <a:ext cx="0" cy="0"/>
          <a:chOff x="0" y="0"/>
          <a:chExt cx="0" cy="0"/>
        </a:xfrm>
      </p:grpSpPr>
      <p:sp>
        <p:nvSpPr>
          <p:cNvPr id="19" name="Bildplatzhalter 18">
            <a:extLst>
              <a:ext uri="{FF2B5EF4-FFF2-40B4-BE49-F238E27FC236}">
                <a16:creationId xmlns:a16="http://schemas.microsoft.com/office/drawing/2014/main" id="{BFA7638A-DB90-4716-9D23-5F81C6236A0C}"/>
              </a:ext>
            </a:extLst>
          </p:cNvPr>
          <p:cNvSpPr>
            <a:spLocks noGrp="1"/>
          </p:cNvSpPr>
          <p:nvPr>
            <p:ph type="pic" sz="quarter" idx="11"/>
          </p:nvPr>
        </p:nvSpPr>
        <p:spPr bwMode="gray">
          <a:xfrm>
            <a:off x="0" y="0"/>
            <a:ext cx="12191994" cy="6857997"/>
          </a:xfrm>
          <a:custGeom>
            <a:avLst/>
            <a:gdLst>
              <a:gd name="connsiteX0" fmla="*/ 0 w 12191994"/>
              <a:gd name="connsiteY0" fmla="*/ 0 h 6857997"/>
              <a:gd name="connsiteX1" fmla="*/ 10798169 w 12191994"/>
              <a:gd name="connsiteY1" fmla="*/ 0 h 6857997"/>
              <a:gd name="connsiteX2" fmla="*/ 10798169 w 12191994"/>
              <a:gd name="connsiteY2" fmla="*/ 3175 h 6857997"/>
              <a:gd name="connsiteX3" fmla="*/ 10804526 w 12191994"/>
              <a:gd name="connsiteY3" fmla="*/ 3175 h 6857997"/>
              <a:gd name="connsiteX4" fmla="*/ 10804526 w 12191994"/>
              <a:gd name="connsiteY4" fmla="*/ 730423 h 6857997"/>
              <a:gd name="connsiteX5" fmla="*/ 11209339 w 12191994"/>
              <a:gd name="connsiteY5" fmla="*/ 1135064 h 6857997"/>
              <a:gd name="connsiteX6" fmla="*/ 11614151 w 12191994"/>
              <a:gd name="connsiteY6" fmla="*/ 730423 h 6857997"/>
              <a:gd name="connsiteX7" fmla="*/ 11614151 w 12191994"/>
              <a:gd name="connsiteY7" fmla="*/ 3175 h 6857997"/>
              <a:gd name="connsiteX8" fmla="*/ 11617319 w 12191994"/>
              <a:gd name="connsiteY8" fmla="*/ 3175 h 6857997"/>
              <a:gd name="connsiteX9" fmla="*/ 11617319 w 12191994"/>
              <a:gd name="connsiteY9" fmla="*/ 0 h 6857997"/>
              <a:gd name="connsiteX10" fmla="*/ 12191994 w 12191994"/>
              <a:gd name="connsiteY10" fmla="*/ 0 h 6857997"/>
              <a:gd name="connsiteX11" fmla="*/ 12191994 w 12191994"/>
              <a:gd name="connsiteY11" fmla="*/ 6857997 h 6857997"/>
              <a:gd name="connsiteX12" fmla="*/ 0 w 12191994"/>
              <a:gd name="connsiteY12"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1994" h="6857997">
                <a:moveTo>
                  <a:pt x="0" y="0"/>
                </a:moveTo>
                <a:lnTo>
                  <a:pt x="10798169" y="0"/>
                </a:lnTo>
                <a:lnTo>
                  <a:pt x="10798169" y="3175"/>
                </a:lnTo>
                <a:lnTo>
                  <a:pt x="10804526" y="3175"/>
                </a:lnTo>
                <a:lnTo>
                  <a:pt x="10804526" y="730423"/>
                </a:lnTo>
                <a:cubicBezTo>
                  <a:pt x="10804526" y="953909"/>
                  <a:pt x="10985834" y="1135064"/>
                  <a:pt x="11209339" y="1135064"/>
                </a:cubicBezTo>
                <a:cubicBezTo>
                  <a:pt x="11433015" y="1135064"/>
                  <a:pt x="11614151" y="953909"/>
                  <a:pt x="11614151" y="730423"/>
                </a:cubicBezTo>
                <a:lnTo>
                  <a:pt x="11614151" y="3175"/>
                </a:lnTo>
                <a:lnTo>
                  <a:pt x="11617319" y="3175"/>
                </a:lnTo>
                <a:lnTo>
                  <a:pt x="11617319" y="0"/>
                </a:lnTo>
                <a:lnTo>
                  <a:pt x="12191994" y="0"/>
                </a:lnTo>
                <a:lnTo>
                  <a:pt x="12191994" y="6857997"/>
                </a:lnTo>
                <a:lnTo>
                  <a:pt x="0" y="6857997"/>
                </a:lnTo>
                <a:close/>
              </a:path>
            </a:pathLst>
          </a:custGeom>
          <a:noFill/>
          <a:ln w="0">
            <a:solidFill>
              <a:schemeClr val="accent4">
                <a:alpha val="0"/>
              </a:schemeClr>
            </a:solidFill>
          </a:ln>
        </p:spPr>
        <p:txBody>
          <a:bodyPr wrap="square" anchor="ctr">
            <a:noAutofit/>
          </a:bodyPr>
          <a:lstStyle>
            <a:lvl1pPr algn="ctr" rtl="0">
              <a:defRPr sz="1400"/>
            </a:lvl1pPr>
          </a:lstStyle>
          <a:p>
            <a:endParaRPr lang="en-US" noProof="0" dirty="0"/>
          </a:p>
        </p:txBody>
      </p:sp>
      <p:sp>
        <p:nvSpPr>
          <p:cNvPr id="6" name="Textplatzhalter 5">
            <a:extLst>
              <a:ext uri="{FF2B5EF4-FFF2-40B4-BE49-F238E27FC236}">
                <a16:creationId xmlns:a16="http://schemas.microsoft.com/office/drawing/2014/main" id="{EF4188EE-2DE5-4030-AFB3-0F72906CF23F}"/>
              </a:ext>
            </a:extLst>
          </p:cNvPr>
          <p:cNvSpPr>
            <a:spLocks noGrp="1"/>
          </p:cNvSpPr>
          <p:nvPr>
            <p:ph type="body" sz="quarter" idx="14" hasCustomPrompt="1"/>
          </p:nvPr>
        </p:nvSpPr>
        <p:spPr bwMode="gray">
          <a:xfrm>
            <a:off x="601200" y="476580"/>
            <a:ext cx="3639600" cy="331200"/>
          </a:xfrm>
          <a:blipFill dpi="0" rotWithShape="1">
            <a:blip r:embed="rId5">
              <a:extLst>
                <a:ext uri="{28A0092B-C50C-407E-A947-70E740481C1C}">
                  <a14:useLocalDpi xmlns:a14="http://schemas.microsoft.com/office/drawing/2010/main" val="0"/>
                </a:ext>
              </a:extLst>
            </a:blip>
            <a:srcRect/>
            <a:stretch>
              <a:fillRect/>
            </a:stretch>
          </a:blipFill>
          <a:ln w="127">
            <a:solidFill>
              <a:schemeClr val="bg1">
                <a:alpha val="0"/>
              </a:schemeClr>
            </a:solidFill>
          </a:ln>
        </p:spPr>
        <p:txBody>
          <a:bodyPr/>
          <a:lstStyle>
            <a:lvl1pPr marL="0" indent="0" algn="l" rtl="0">
              <a:lnSpc>
                <a:spcPct val="100000"/>
              </a:lnSpc>
              <a:spcAft>
                <a:spcPts val="0"/>
              </a:spcAft>
              <a:buFont typeface="Arial" panose="020B0604020202020204" pitchFamily="34" charset="0"/>
              <a:buNone/>
              <a:defRPr sz="100"/>
            </a:lvl1pPr>
            <a:lvl2pPr marL="0" indent="0" algn="l">
              <a:lnSpc>
                <a:spcPct val="100000"/>
              </a:lnSpc>
              <a:spcAft>
                <a:spcPts val="0"/>
              </a:spcAft>
              <a:buNone/>
              <a:defRPr sz="100"/>
            </a:lvl2pPr>
            <a:lvl3pPr marL="0" indent="0" algn="l">
              <a:lnSpc>
                <a:spcPct val="100000"/>
              </a:lnSpc>
              <a:spcAft>
                <a:spcPts val="0"/>
              </a:spcAft>
              <a:buNone/>
              <a:defRPr sz="100"/>
            </a:lvl3pPr>
            <a:lvl4pPr marL="0" indent="0" algn="l">
              <a:lnSpc>
                <a:spcPct val="100000"/>
              </a:lnSpc>
              <a:spcAft>
                <a:spcPts val="0"/>
              </a:spcAft>
              <a:buFont typeface="Arial" panose="020B0604020202020204" pitchFamily="34" charset="0"/>
              <a:buNone/>
              <a:defRPr sz="100"/>
            </a:lvl4pPr>
            <a:lvl5pPr marL="0" indent="0" algn="l">
              <a:lnSpc>
                <a:spcPct val="100000"/>
              </a:lnSpc>
              <a:spcAft>
                <a:spcPts val="0"/>
              </a:spcAft>
              <a:buNone/>
              <a:defRPr sz="100"/>
            </a:lvl5pPr>
            <a:lvl6pPr marL="0" indent="0" algn="l">
              <a:lnSpc>
                <a:spcPct val="100000"/>
              </a:lnSpc>
              <a:spcAft>
                <a:spcPts val="0"/>
              </a:spcAft>
              <a:buNone/>
              <a:defRPr sz="100"/>
            </a:lvl6pPr>
            <a:lvl7pPr marL="0" indent="0" algn="l">
              <a:lnSpc>
                <a:spcPct val="100000"/>
              </a:lnSpc>
              <a:spcAft>
                <a:spcPts val="0"/>
              </a:spcAft>
              <a:buFont typeface="Arial" panose="020B0604020202020204" pitchFamily="34" charset="0"/>
              <a:buNone/>
              <a:defRPr sz="100"/>
            </a:lvl7pPr>
            <a:lvl8pPr marL="0" indent="0" algn="l">
              <a:lnSpc>
                <a:spcPct val="100000"/>
              </a:lnSpc>
              <a:spcAft>
                <a:spcPts val="0"/>
              </a:spcAft>
              <a:buNone/>
              <a:defRPr sz="100"/>
            </a:lvl8pPr>
            <a:lvl9pPr marL="0" indent="0" algn="l">
              <a:lnSpc>
                <a:spcPct val="100000"/>
              </a:lnSpc>
              <a:spcAft>
                <a:spcPts val="0"/>
              </a:spcAft>
              <a:buNone/>
              <a:defRPr sz="100"/>
            </a:lvl9pPr>
          </a:lstStyle>
          <a:p>
            <a:pPr lvl="0"/>
            <a:r>
              <a:rPr lang="en-US" noProof="0" dirty="0"/>
              <a:t> </a:t>
            </a:r>
          </a:p>
        </p:txBody>
      </p:sp>
      <p:sp>
        <p:nvSpPr>
          <p:cNvPr id="18" name="Freihandform: Form 17">
            <a:extLst>
              <a:ext uri="{FF2B5EF4-FFF2-40B4-BE49-F238E27FC236}">
                <a16:creationId xmlns:a16="http://schemas.microsoft.com/office/drawing/2014/main" id="{7125A306-10C1-4558-9F34-4F3403A1B151}"/>
              </a:ext>
            </a:extLst>
          </p:cNvPr>
          <p:cNvSpPr/>
          <p:nvPr/>
        </p:nvSpPr>
        <p:spPr bwMode="gray">
          <a:xfrm>
            <a:off x="10804526" y="1"/>
            <a:ext cx="809625" cy="1135063"/>
          </a:xfrm>
          <a:custGeom>
            <a:avLst/>
            <a:gdLst>
              <a:gd name="connsiteX0" fmla="*/ 0 w 809625"/>
              <a:gd name="connsiteY0" fmla="*/ 0 h 1135063"/>
              <a:gd name="connsiteX1" fmla="*/ 809625 w 809625"/>
              <a:gd name="connsiteY1" fmla="*/ 0 h 1135063"/>
              <a:gd name="connsiteX2" fmla="*/ 809625 w 809625"/>
              <a:gd name="connsiteY2" fmla="*/ 730422 h 1135063"/>
              <a:gd name="connsiteX3" fmla="*/ 404813 w 809625"/>
              <a:gd name="connsiteY3" fmla="*/ 1135063 h 1135063"/>
              <a:gd name="connsiteX4" fmla="*/ 0 w 809625"/>
              <a:gd name="connsiteY4" fmla="*/ 730422 h 1135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1135063">
                <a:moveTo>
                  <a:pt x="0" y="0"/>
                </a:moveTo>
                <a:lnTo>
                  <a:pt x="809625" y="0"/>
                </a:lnTo>
                <a:lnTo>
                  <a:pt x="809625" y="730422"/>
                </a:lnTo>
                <a:cubicBezTo>
                  <a:pt x="809625" y="953908"/>
                  <a:pt x="628489" y="1135063"/>
                  <a:pt x="404813" y="1135063"/>
                </a:cubicBezTo>
                <a:cubicBezTo>
                  <a:pt x="181308" y="1135063"/>
                  <a:pt x="0" y="953908"/>
                  <a:pt x="0" y="73042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bIns="79200" rtlCol="0" anchor="ctr">
            <a:noAutofit/>
          </a:bodyPr>
          <a:lstStyle/>
          <a:p>
            <a:pPr algn="ctr" rtl="0"/>
            <a:endParaRPr lang="en-US" sz="1400" dirty="0"/>
          </a:p>
        </p:txBody>
      </p:sp>
      <p:sp>
        <p:nvSpPr>
          <p:cNvPr id="14" name="Freeform 17">
            <a:extLst>
              <a:ext uri="{FF2B5EF4-FFF2-40B4-BE49-F238E27FC236}">
                <a16:creationId xmlns:a16="http://schemas.microsoft.com/office/drawing/2014/main" id="{7F9829CA-BDE0-47DD-B91C-A6DA74F64C5F}"/>
              </a:ext>
            </a:extLst>
          </p:cNvPr>
          <p:cNvSpPr>
            <a:spLocks noEditPoints="1"/>
          </p:cNvSpPr>
          <p:nvPr/>
        </p:nvSpPr>
        <p:spPr bwMode="gray">
          <a:xfrm>
            <a:off x="10929938" y="487363"/>
            <a:ext cx="595313" cy="320675"/>
          </a:xfrm>
          <a:custGeom>
            <a:avLst/>
            <a:gdLst>
              <a:gd name="T0" fmla="*/ 3270 w 3471"/>
              <a:gd name="T1" fmla="*/ 1872 h 1872"/>
              <a:gd name="T2" fmla="*/ 3137 w 3471"/>
              <a:gd name="T3" fmla="*/ 1817 h 1872"/>
              <a:gd name="T4" fmla="*/ 2679 w 3471"/>
              <a:gd name="T5" fmla="*/ 1358 h 1872"/>
              <a:gd name="T6" fmla="*/ 2677 w 3471"/>
              <a:gd name="T7" fmla="*/ 1096 h 1872"/>
              <a:gd name="T8" fmla="*/ 2806 w 3471"/>
              <a:gd name="T9" fmla="*/ 1042 h 1872"/>
              <a:gd name="T10" fmla="*/ 2939 w 3471"/>
              <a:gd name="T11" fmla="*/ 1098 h 1872"/>
              <a:gd name="T12" fmla="*/ 3397 w 3471"/>
              <a:gd name="T13" fmla="*/ 1557 h 1872"/>
              <a:gd name="T14" fmla="*/ 3452 w 3471"/>
              <a:gd name="T15" fmla="*/ 1688 h 1872"/>
              <a:gd name="T16" fmla="*/ 3399 w 3471"/>
              <a:gd name="T17" fmla="*/ 1819 h 1872"/>
              <a:gd name="T18" fmla="*/ 3270 w 3471"/>
              <a:gd name="T19" fmla="*/ 1872 h 1872"/>
              <a:gd name="T20" fmla="*/ 3270 w 3471"/>
              <a:gd name="T21" fmla="*/ 1872 h 1872"/>
              <a:gd name="T22" fmla="*/ 1787 w 3471"/>
              <a:gd name="T23" fmla="*/ 1872 h 1872"/>
              <a:gd name="T24" fmla="*/ 1658 w 3471"/>
              <a:gd name="T25" fmla="*/ 1819 h 1872"/>
              <a:gd name="T26" fmla="*/ 1605 w 3471"/>
              <a:gd name="T27" fmla="*/ 1688 h 1872"/>
              <a:gd name="T28" fmla="*/ 1660 w 3471"/>
              <a:gd name="T29" fmla="*/ 1557 h 1872"/>
              <a:gd name="T30" fmla="*/ 2119 w 3471"/>
              <a:gd name="T31" fmla="*/ 1098 h 1872"/>
              <a:gd name="T32" fmla="*/ 2252 w 3471"/>
              <a:gd name="T33" fmla="*/ 1042 h 1872"/>
              <a:gd name="T34" fmla="*/ 2381 w 3471"/>
              <a:gd name="T35" fmla="*/ 1096 h 1872"/>
              <a:gd name="T36" fmla="*/ 2379 w 3471"/>
              <a:gd name="T37" fmla="*/ 1358 h 1872"/>
              <a:gd name="T38" fmla="*/ 1920 w 3471"/>
              <a:gd name="T39" fmla="*/ 1817 h 1872"/>
              <a:gd name="T40" fmla="*/ 1787 w 3471"/>
              <a:gd name="T41" fmla="*/ 1872 h 1872"/>
              <a:gd name="T42" fmla="*/ 1787 w 3471"/>
              <a:gd name="T43" fmla="*/ 1872 h 1872"/>
              <a:gd name="T44" fmla="*/ 196 w 3471"/>
              <a:gd name="T45" fmla="*/ 1857 h 1872"/>
              <a:gd name="T46" fmla="*/ 0 w 3471"/>
              <a:gd name="T47" fmla="*/ 1662 h 1872"/>
              <a:gd name="T48" fmla="*/ 0 w 3471"/>
              <a:gd name="T49" fmla="*/ 211 h 1872"/>
              <a:gd name="T50" fmla="*/ 196 w 3471"/>
              <a:gd name="T51" fmla="*/ 16 h 1872"/>
              <a:gd name="T52" fmla="*/ 1219 w 3471"/>
              <a:gd name="T53" fmla="*/ 16 h 1872"/>
              <a:gd name="T54" fmla="*/ 1390 w 3471"/>
              <a:gd name="T55" fmla="*/ 185 h 1872"/>
              <a:gd name="T56" fmla="*/ 1219 w 3471"/>
              <a:gd name="T57" fmla="*/ 354 h 1872"/>
              <a:gd name="T58" fmla="*/ 372 w 3471"/>
              <a:gd name="T59" fmla="*/ 354 h 1872"/>
              <a:gd name="T60" fmla="*/ 372 w 3471"/>
              <a:gd name="T61" fmla="*/ 1518 h 1872"/>
              <a:gd name="T62" fmla="*/ 1232 w 3471"/>
              <a:gd name="T63" fmla="*/ 1518 h 1872"/>
              <a:gd name="T64" fmla="*/ 1404 w 3471"/>
              <a:gd name="T65" fmla="*/ 1688 h 1872"/>
              <a:gd name="T66" fmla="*/ 1232 w 3471"/>
              <a:gd name="T67" fmla="*/ 1857 h 1872"/>
              <a:gd name="T68" fmla="*/ 196 w 3471"/>
              <a:gd name="T69" fmla="*/ 1857 h 1872"/>
              <a:gd name="T70" fmla="*/ 590 w 3471"/>
              <a:gd name="T71" fmla="*/ 1099 h 1872"/>
              <a:gd name="T72" fmla="*/ 590 w 3471"/>
              <a:gd name="T73" fmla="*/ 761 h 1872"/>
              <a:gd name="T74" fmla="*/ 1628 w 3471"/>
              <a:gd name="T75" fmla="*/ 761 h 1872"/>
              <a:gd name="T76" fmla="*/ 1800 w 3471"/>
              <a:gd name="T77" fmla="*/ 930 h 1872"/>
              <a:gd name="T78" fmla="*/ 1628 w 3471"/>
              <a:gd name="T79" fmla="*/ 1099 h 1872"/>
              <a:gd name="T80" fmla="*/ 590 w 3471"/>
              <a:gd name="T81" fmla="*/ 1099 h 1872"/>
              <a:gd name="T82" fmla="*/ 2806 w 3471"/>
              <a:gd name="T83" fmla="*/ 831 h 1872"/>
              <a:gd name="T84" fmla="*/ 2677 w 3471"/>
              <a:gd name="T85" fmla="*/ 777 h 1872"/>
              <a:gd name="T86" fmla="*/ 2679 w 3471"/>
              <a:gd name="T87" fmla="*/ 515 h 1872"/>
              <a:gd name="T88" fmla="*/ 3137 w 3471"/>
              <a:gd name="T89" fmla="*/ 56 h 1872"/>
              <a:gd name="T90" fmla="*/ 3270 w 3471"/>
              <a:gd name="T91" fmla="*/ 0 h 1872"/>
              <a:gd name="T92" fmla="*/ 3399 w 3471"/>
              <a:gd name="T93" fmla="*/ 54 h 1872"/>
              <a:gd name="T94" fmla="*/ 3397 w 3471"/>
              <a:gd name="T95" fmla="*/ 316 h 1872"/>
              <a:gd name="T96" fmla="*/ 2939 w 3471"/>
              <a:gd name="T97" fmla="*/ 775 h 1872"/>
              <a:gd name="T98" fmla="*/ 2806 w 3471"/>
              <a:gd name="T99" fmla="*/ 831 h 1872"/>
              <a:gd name="T100" fmla="*/ 2252 w 3471"/>
              <a:gd name="T101" fmla="*/ 831 h 1872"/>
              <a:gd name="T102" fmla="*/ 2119 w 3471"/>
              <a:gd name="T103" fmla="*/ 775 h 1872"/>
              <a:gd name="T104" fmla="*/ 1660 w 3471"/>
              <a:gd name="T105" fmla="*/ 316 h 1872"/>
              <a:gd name="T106" fmla="*/ 1658 w 3471"/>
              <a:gd name="T107" fmla="*/ 54 h 1872"/>
              <a:gd name="T108" fmla="*/ 1787 w 3471"/>
              <a:gd name="T109" fmla="*/ 0 h 1872"/>
              <a:gd name="T110" fmla="*/ 1920 w 3471"/>
              <a:gd name="T111" fmla="*/ 56 h 1872"/>
              <a:gd name="T112" fmla="*/ 2379 w 3471"/>
              <a:gd name="T113" fmla="*/ 515 h 1872"/>
              <a:gd name="T114" fmla="*/ 2381 w 3471"/>
              <a:gd name="T115" fmla="*/ 777 h 1872"/>
              <a:gd name="T116" fmla="*/ 2252 w 3471"/>
              <a:gd name="T117" fmla="*/ 831 h 1872"/>
              <a:gd name="T118" fmla="*/ 2252 w 3471"/>
              <a:gd name="T119" fmla="*/ 831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71" h="1872">
                <a:moveTo>
                  <a:pt x="3270" y="1872"/>
                </a:moveTo>
                <a:cubicBezTo>
                  <a:pt x="3220" y="1872"/>
                  <a:pt x="3173" y="1853"/>
                  <a:pt x="3137" y="1817"/>
                </a:cubicBezTo>
                <a:lnTo>
                  <a:pt x="2679" y="1358"/>
                </a:lnTo>
                <a:cubicBezTo>
                  <a:pt x="2606" y="1285"/>
                  <a:pt x="2605" y="1167"/>
                  <a:pt x="2677" y="1096"/>
                </a:cubicBezTo>
                <a:cubicBezTo>
                  <a:pt x="2711" y="1061"/>
                  <a:pt x="2757" y="1042"/>
                  <a:pt x="2806" y="1042"/>
                </a:cubicBezTo>
                <a:cubicBezTo>
                  <a:pt x="2856" y="1042"/>
                  <a:pt x="2903" y="1062"/>
                  <a:pt x="2939" y="1098"/>
                </a:cubicBezTo>
                <a:lnTo>
                  <a:pt x="3397" y="1557"/>
                </a:lnTo>
                <a:cubicBezTo>
                  <a:pt x="3432" y="1592"/>
                  <a:pt x="3452" y="1639"/>
                  <a:pt x="3452" y="1688"/>
                </a:cubicBezTo>
                <a:cubicBezTo>
                  <a:pt x="3453" y="1738"/>
                  <a:pt x="3434" y="1784"/>
                  <a:pt x="3399" y="1819"/>
                </a:cubicBezTo>
                <a:cubicBezTo>
                  <a:pt x="3365" y="1854"/>
                  <a:pt x="3319" y="1872"/>
                  <a:pt x="3270" y="1872"/>
                </a:cubicBezTo>
                <a:lnTo>
                  <a:pt x="3270" y="1872"/>
                </a:lnTo>
                <a:close/>
                <a:moveTo>
                  <a:pt x="1787" y="1872"/>
                </a:moveTo>
                <a:cubicBezTo>
                  <a:pt x="1739" y="1872"/>
                  <a:pt x="1693" y="1854"/>
                  <a:pt x="1658" y="1819"/>
                </a:cubicBezTo>
                <a:cubicBezTo>
                  <a:pt x="1624" y="1784"/>
                  <a:pt x="1605" y="1738"/>
                  <a:pt x="1605" y="1688"/>
                </a:cubicBezTo>
                <a:cubicBezTo>
                  <a:pt x="1605" y="1639"/>
                  <a:pt x="1625" y="1592"/>
                  <a:pt x="1660" y="1557"/>
                </a:cubicBezTo>
                <a:lnTo>
                  <a:pt x="2119" y="1098"/>
                </a:lnTo>
                <a:cubicBezTo>
                  <a:pt x="2154" y="1062"/>
                  <a:pt x="2202" y="1042"/>
                  <a:pt x="2252" y="1042"/>
                </a:cubicBezTo>
                <a:cubicBezTo>
                  <a:pt x="2300" y="1042"/>
                  <a:pt x="2346" y="1061"/>
                  <a:pt x="2381" y="1096"/>
                </a:cubicBezTo>
                <a:cubicBezTo>
                  <a:pt x="2452" y="1167"/>
                  <a:pt x="2451" y="1285"/>
                  <a:pt x="2379" y="1358"/>
                </a:cubicBezTo>
                <a:lnTo>
                  <a:pt x="1920" y="1817"/>
                </a:lnTo>
                <a:cubicBezTo>
                  <a:pt x="1885" y="1853"/>
                  <a:pt x="1837" y="1872"/>
                  <a:pt x="1787" y="1872"/>
                </a:cubicBezTo>
                <a:cubicBezTo>
                  <a:pt x="1787" y="1872"/>
                  <a:pt x="1787" y="1872"/>
                  <a:pt x="1787" y="1872"/>
                </a:cubicBezTo>
                <a:close/>
                <a:moveTo>
                  <a:pt x="196" y="1857"/>
                </a:moveTo>
                <a:cubicBezTo>
                  <a:pt x="87" y="1857"/>
                  <a:pt x="0" y="1771"/>
                  <a:pt x="0" y="1662"/>
                </a:cubicBezTo>
                <a:lnTo>
                  <a:pt x="0" y="211"/>
                </a:lnTo>
                <a:cubicBezTo>
                  <a:pt x="0" y="102"/>
                  <a:pt x="87" y="16"/>
                  <a:pt x="196" y="16"/>
                </a:cubicBezTo>
                <a:lnTo>
                  <a:pt x="1219" y="16"/>
                </a:lnTo>
                <a:cubicBezTo>
                  <a:pt x="1313" y="16"/>
                  <a:pt x="1390" y="92"/>
                  <a:pt x="1390" y="185"/>
                </a:cubicBezTo>
                <a:cubicBezTo>
                  <a:pt x="1390" y="278"/>
                  <a:pt x="1313" y="354"/>
                  <a:pt x="1219" y="354"/>
                </a:cubicBezTo>
                <a:lnTo>
                  <a:pt x="372" y="354"/>
                </a:lnTo>
                <a:lnTo>
                  <a:pt x="372" y="1518"/>
                </a:lnTo>
                <a:lnTo>
                  <a:pt x="1232" y="1518"/>
                </a:lnTo>
                <a:cubicBezTo>
                  <a:pt x="1327" y="1518"/>
                  <a:pt x="1404" y="1594"/>
                  <a:pt x="1404" y="1688"/>
                </a:cubicBezTo>
                <a:cubicBezTo>
                  <a:pt x="1404" y="1781"/>
                  <a:pt x="1327" y="1857"/>
                  <a:pt x="1232" y="1857"/>
                </a:cubicBezTo>
                <a:lnTo>
                  <a:pt x="196" y="1857"/>
                </a:lnTo>
                <a:close/>
                <a:moveTo>
                  <a:pt x="590" y="1099"/>
                </a:moveTo>
                <a:lnTo>
                  <a:pt x="590" y="761"/>
                </a:lnTo>
                <a:lnTo>
                  <a:pt x="1628" y="761"/>
                </a:lnTo>
                <a:cubicBezTo>
                  <a:pt x="1723" y="761"/>
                  <a:pt x="1800" y="837"/>
                  <a:pt x="1800" y="930"/>
                </a:cubicBezTo>
                <a:cubicBezTo>
                  <a:pt x="1800" y="1023"/>
                  <a:pt x="1723" y="1099"/>
                  <a:pt x="1628" y="1099"/>
                </a:cubicBezTo>
                <a:lnTo>
                  <a:pt x="590" y="1099"/>
                </a:lnTo>
                <a:close/>
                <a:moveTo>
                  <a:pt x="2806" y="831"/>
                </a:moveTo>
                <a:cubicBezTo>
                  <a:pt x="2757" y="831"/>
                  <a:pt x="2711" y="812"/>
                  <a:pt x="2677" y="777"/>
                </a:cubicBezTo>
                <a:cubicBezTo>
                  <a:pt x="2605" y="706"/>
                  <a:pt x="2606" y="588"/>
                  <a:pt x="2679" y="515"/>
                </a:cubicBezTo>
                <a:lnTo>
                  <a:pt x="3137" y="56"/>
                </a:lnTo>
                <a:cubicBezTo>
                  <a:pt x="3173" y="20"/>
                  <a:pt x="3220" y="0"/>
                  <a:pt x="3270" y="0"/>
                </a:cubicBezTo>
                <a:cubicBezTo>
                  <a:pt x="3319" y="0"/>
                  <a:pt x="3365" y="19"/>
                  <a:pt x="3399" y="54"/>
                </a:cubicBezTo>
                <a:cubicBezTo>
                  <a:pt x="3471" y="126"/>
                  <a:pt x="3470" y="243"/>
                  <a:pt x="3397" y="316"/>
                </a:cubicBezTo>
                <a:lnTo>
                  <a:pt x="2939" y="775"/>
                </a:lnTo>
                <a:cubicBezTo>
                  <a:pt x="2903" y="811"/>
                  <a:pt x="2856" y="831"/>
                  <a:pt x="2806" y="831"/>
                </a:cubicBezTo>
                <a:close/>
                <a:moveTo>
                  <a:pt x="2252" y="831"/>
                </a:moveTo>
                <a:cubicBezTo>
                  <a:pt x="2202" y="831"/>
                  <a:pt x="2154" y="811"/>
                  <a:pt x="2119" y="775"/>
                </a:cubicBezTo>
                <a:lnTo>
                  <a:pt x="1660" y="316"/>
                </a:lnTo>
                <a:cubicBezTo>
                  <a:pt x="1588" y="243"/>
                  <a:pt x="1587" y="126"/>
                  <a:pt x="1658" y="54"/>
                </a:cubicBezTo>
                <a:cubicBezTo>
                  <a:pt x="1693" y="19"/>
                  <a:pt x="1739" y="0"/>
                  <a:pt x="1787" y="0"/>
                </a:cubicBezTo>
                <a:cubicBezTo>
                  <a:pt x="1837" y="0"/>
                  <a:pt x="1885" y="20"/>
                  <a:pt x="1920" y="56"/>
                </a:cubicBezTo>
                <a:lnTo>
                  <a:pt x="2379" y="515"/>
                </a:lnTo>
                <a:cubicBezTo>
                  <a:pt x="2451" y="588"/>
                  <a:pt x="2452" y="706"/>
                  <a:pt x="2381" y="777"/>
                </a:cubicBezTo>
                <a:cubicBezTo>
                  <a:pt x="2346" y="812"/>
                  <a:pt x="2300" y="831"/>
                  <a:pt x="2252" y="831"/>
                </a:cubicBezTo>
                <a:lnTo>
                  <a:pt x="2252" y="831"/>
                </a:lnTo>
                <a:close/>
              </a:path>
            </a:pathLst>
          </a:custGeom>
          <a:solidFill>
            <a:srgbClr val="201751"/>
          </a:solidFill>
          <a:ln w="0">
            <a:noFill/>
            <a:prstDash val="solid"/>
            <a:round/>
            <a:headEnd/>
            <a:tailEnd/>
          </a:ln>
        </p:spPr>
        <p:txBody>
          <a:bodyPr vert="horz" wrap="square" lIns="91440" tIns="45720" rIns="91440" bIns="45720" numCol="1" anchor="t" anchorCtr="0" compatLnSpc="1">
            <a:prstTxWarp prst="textNoShape">
              <a:avLst/>
            </a:prstTxWarp>
          </a:bodyPr>
          <a:lstStyle/>
          <a:p>
            <a:pPr rtl="0"/>
            <a:endParaRPr lang="en-US" dirty="0"/>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p:custDataLst>
              <p:tags r:id="rId2"/>
            </p:custDataLst>
            <p:extLst>
              <p:ext uri="{D42A27DB-BD31-4B8C-83A1-F6EECF244321}">
                <p14:modId xmlns:p14="http://schemas.microsoft.com/office/powerpoint/2010/main" val="2831061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5" name="think-cell Folie" r:id="rId6" imgW="286" imgH="286" progId="TCLayout.ActiveDocument.1">
                  <p:embed/>
                </p:oleObj>
              </mc:Choice>
              <mc:Fallback>
                <p:oleObj name="think-cell Folie" r:id="rId6"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US" sz="4300" b="1" i="0" baseline="0"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vert="horz" anchor="t" anchorCtr="0"/>
          <a:lstStyle>
            <a:lvl1pPr algn="l" rtl="0">
              <a:lnSpc>
                <a:spcPct val="100000"/>
              </a:lnSpc>
              <a:spcBef>
                <a:spcPts val="0"/>
              </a:spcBef>
              <a:defRPr sz="4300" b="1">
                <a:solidFill>
                  <a:schemeClr val="bg1"/>
                </a:solidFill>
              </a:defRPr>
            </a:lvl1pPr>
          </a:lstStyle>
          <a:p>
            <a:r>
              <a:rPr lang="en-US" noProof="0" dirty="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rtl="0">
              <a:lnSpc>
                <a:spcPct val="100000"/>
              </a:lnSpc>
              <a:spcBef>
                <a:spcPts val="0"/>
              </a:spcBef>
              <a:spcAft>
                <a:spcPts val="0"/>
              </a:spcAft>
              <a:buNone/>
              <a:defRPr sz="2400">
                <a:solidFill>
                  <a:schemeClr val="bg1"/>
                </a:solidFill>
                <a:latin typeface="+mn-lt"/>
                <a:cs typeface="Abadi MT Condensed Extra Bold"/>
              </a:defRPr>
            </a:lvl1pPr>
            <a:lvl2pPr marL="0" indent="0" algn="l">
              <a:lnSpc>
                <a:spcPct val="100000"/>
              </a:lnSpc>
              <a:spcAft>
                <a:spcPts val="0"/>
              </a:spcAft>
              <a:buNone/>
              <a:defRPr sz="2400">
                <a:solidFill>
                  <a:schemeClr val="bg1"/>
                </a:solidFill>
              </a:defRPr>
            </a:lvl2pPr>
            <a:lvl3pPr marL="0" indent="0" algn="l">
              <a:lnSpc>
                <a:spcPct val="100000"/>
              </a:lnSpc>
              <a:spcAft>
                <a:spcPts val="0"/>
              </a:spcAft>
              <a:buNone/>
              <a:defRPr sz="2400">
                <a:solidFill>
                  <a:schemeClr val="bg1"/>
                </a:solidFill>
              </a:defRPr>
            </a:lvl3pPr>
            <a:lvl4pPr marL="0" indent="0" algn="l">
              <a:lnSpc>
                <a:spcPct val="100000"/>
              </a:lnSpc>
              <a:spcAft>
                <a:spcPts val="0"/>
              </a:spcAft>
              <a:buNone/>
              <a:defRPr sz="2400">
                <a:solidFill>
                  <a:schemeClr val="bg1"/>
                </a:solidFill>
              </a:defRPr>
            </a:lvl4pPr>
            <a:lvl5pPr marL="0" indent="0" algn="l">
              <a:lnSpc>
                <a:spcPct val="100000"/>
              </a:lnSpc>
              <a:spcAft>
                <a:spcPts val="0"/>
              </a:spcAft>
              <a:buNone/>
              <a:defRPr sz="2400">
                <a:solidFill>
                  <a:schemeClr val="bg1"/>
                </a:solidFill>
              </a:defRPr>
            </a:lvl5pPr>
            <a:lvl6pPr marL="0" indent="0" algn="l">
              <a:lnSpc>
                <a:spcPct val="100000"/>
              </a:lnSpc>
              <a:spcAft>
                <a:spcPts val="0"/>
              </a:spcAft>
              <a:buNone/>
              <a:defRPr sz="2400">
                <a:solidFill>
                  <a:schemeClr val="bg1"/>
                </a:solidFill>
              </a:defRPr>
            </a:lvl6pPr>
            <a:lvl7pPr marL="0" indent="0" algn="l">
              <a:lnSpc>
                <a:spcPct val="100000"/>
              </a:lnSpc>
              <a:spcAft>
                <a:spcPts val="0"/>
              </a:spcAft>
              <a:buNone/>
              <a:defRPr sz="2400">
                <a:solidFill>
                  <a:schemeClr val="bg1"/>
                </a:solidFill>
              </a:defRPr>
            </a:lvl7pPr>
            <a:lvl8pPr marL="0" indent="0" algn="l">
              <a:lnSpc>
                <a:spcPct val="100000"/>
              </a:lnSpc>
              <a:spcAft>
                <a:spcPts val="0"/>
              </a:spcAft>
              <a:buNone/>
              <a:defRPr sz="2400">
                <a:solidFill>
                  <a:schemeClr val="bg1"/>
                </a:solidFill>
              </a:defRPr>
            </a:lvl8pPr>
            <a:lvl9pPr marL="0" indent="0" algn="l">
              <a:lnSpc>
                <a:spcPct val="100000"/>
              </a:lnSpc>
              <a:spcAft>
                <a:spcPts val="0"/>
              </a:spcAft>
              <a:buNone/>
              <a:defRPr sz="2400">
                <a:solidFill>
                  <a:schemeClr val="bg1"/>
                </a:solidFill>
              </a:defRPr>
            </a:lvl9pPr>
          </a:lstStyle>
          <a:p>
            <a:r>
              <a:rPr lang="en-US" noProof="0" dirty="0"/>
              <a:t>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bwMode="gray">
          <a:xfrm>
            <a:off x="586817" y="4689140"/>
            <a:ext cx="3529571" cy="288032"/>
          </a:xfrm>
        </p:spPr>
        <p:txBody>
          <a:bodyPr anchor="t"/>
          <a:lstStyle>
            <a:lvl1pPr marL="0" indent="0" algn="l" rtl="0">
              <a:lnSpc>
                <a:spcPct val="100000"/>
              </a:lnSpc>
              <a:spcBef>
                <a:spcPts val="0"/>
              </a:spcBef>
              <a:spcAft>
                <a:spcPts val="0"/>
              </a:spcAft>
              <a:buFontTx/>
              <a:buNone/>
              <a:defRPr sz="1400">
                <a:solidFill>
                  <a:schemeClr val="bg1"/>
                </a:solidFill>
              </a:defRPr>
            </a:lvl1pPr>
            <a:lvl2pPr marL="0" indent="0">
              <a:lnSpc>
                <a:spcPct val="100000"/>
              </a:lnSpc>
              <a:spcBef>
                <a:spcPts val="0"/>
              </a:spcBef>
              <a:spcAft>
                <a:spcPts val="0"/>
              </a:spcAft>
              <a:buFontTx/>
              <a:buNone/>
              <a:defRPr sz="1400"/>
            </a:lvl2pPr>
            <a:lvl3pPr marL="0" indent="0">
              <a:lnSpc>
                <a:spcPct val="100000"/>
              </a:lnSpc>
              <a:spcBef>
                <a:spcPts val="0"/>
              </a:spcBef>
              <a:spcAft>
                <a:spcPts val="0"/>
              </a:spcAft>
              <a:buFontTx/>
              <a:buNone/>
              <a:defRPr sz="1400"/>
            </a:lvl3pPr>
            <a:lvl4pPr marL="0" indent="0">
              <a:lnSpc>
                <a:spcPct val="100000"/>
              </a:lnSpc>
              <a:spcBef>
                <a:spcPts val="0"/>
              </a:spcBef>
              <a:spcAft>
                <a:spcPts val="0"/>
              </a:spcAft>
              <a:buFontTx/>
              <a:buNone/>
              <a:defRPr sz="1400"/>
            </a:lvl4pPr>
            <a:lvl5pPr marL="0" indent="0">
              <a:lnSpc>
                <a:spcPct val="100000"/>
              </a:lnSpc>
              <a:spcBef>
                <a:spcPts val="0"/>
              </a:spcBef>
              <a:spcAft>
                <a:spcPts val="0"/>
              </a:spcAft>
              <a:buFontTx/>
              <a:buNone/>
              <a:defRPr sz="1400"/>
            </a:lvl5pPr>
            <a:lvl6pPr marL="0" indent="0">
              <a:lnSpc>
                <a:spcPct val="100000"/>
              </a:lnSpc>
              <a:spcBef>
                <a:spcPts val="0"/>
              </a:spcBef>
              <a:spcAft>
                <a:spcPts val="0"/>
              </a:spcAft>
              <a:buFontTx/>
              <a:buNone/>
              <a:defRPr sz="1400"/>
            </a:lvl6pPr>
            <a:lvl7pPr marL="0" indent="0">
              <a:lnSpc>
                <a:spcPct val="100000"/>
              </a:lnSpc>
              <a:spcBef>
                <a:spcPts val="0"/>
              </a:spcBef>
              <a:spcAft>
                <a:spcPts val="0"/>
              </a:spcAft>
              <a:buFontTx/>
              <a:buNone/>
              <a:defRPr sz="1400"/>
            </a:lvl7pPr>
            <a:lvl8pPr marL="0" indent="0">
              <a:lnSpc>
                <a:spcPct val="100000"/>
              </a:lnSpc>
              <a:spcBef>
                <a:spcPts val="0"/>
              </a:spcBef>
              <a:spcAft>
                <a:spcPts val="0"/>
              </a:spcAft>
              <a:buFontTx/>
              <a:buNone/>
              <a:defRPr sz="1400"/>
            </a:lvl8pPr>
            <a:lvl9pPr marL="0" indent="0">
              <a:lnSpc>
                <a:spcPct val="100000"/>
              </a:lnSpc>
              <a:spcBef>
                <a:spcPts val="0"/>
              </a:spcBef>
              <a:spcAft>
                <a:spcPts val="0"/>
              </a:spcAft>
              <a:buFontTx/>
              <a:buNone/>
              <a:defRPr sz="1400"/>
            </a:lvl9pPr>
          </a:lstStyle>
          <a:p>
            <a:fld id="{0EE4D957-700A-4156-A32B-8178DE68FABC}" type="datetime1">
              <a:rPr lang="en-US"/>
              <a:t>1/16/2022</a:t>
            </a:fld>
            <a:endParaRPr lang="en-US" dirty="0"/>
          </a:p>
        </p:txBody>
      </p:sp>
    </p:spTree>
    <p:extLst>
      <p:ext uri="{BB962C8B-B14F-4D97-AF65-F5344CB8AC3E}">
        <p14:creationId xmlns:p14="http://schemas.microsoft.com/office/powerpoint/2010/main" val="80719545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tags" Target="../tags/tag2.xml"/><Relationship Id="rId45"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481E13-4175-4F0D-966D-2109B9AE3CDD}"/>
              </a:ext>
            </a:extLst>
          </p:cNvPr>
          <p:cNvGraphicFramePr>
            <a:graphicFrameLocks noChangeAspect="1"/>
          </p:cNvGraphicFramePr>
          <p:nvPr>
            <p:custDataLst>
              <p:tags r:id="rId39"/>
            </p:custDataLst>
            <p:extLst>
              <p:ext uri="{D42A27DB-BD31-4B8C-83A1-F6EECF244321}">
                <p14:modId xmlns:p14="http://schemas.microsoft.com/office/powerpoint/2010/main" val="61128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9" name="think-cell Folie" r:id="rId42" imgW="286" imgH="286" progId="TCLayout.ActiveDocument.1">
                  <p:embed/>
                </p:oleObj>
              </mc:Choice>
              <mc:Fallback>
                <p:oleObj name="think-cell Folie" r:id="rId42" imgW="286" imgH="286" progId="TCLayout.ActiveDocument.1">
                  <p:embed/>
                  <p:pic>
                    <p:nvPicPr>
                      <p:cNvPr id="5" name="Object 4" hidden="1">
                        <a:extLst>
                          <a:ext uri="{FF2B5EF4-FFF2-40B4-BE49-F238E27FC236}">
                            <a16:creationId xmlns:a16="http://schemas.microsoft.com/office/drawing/2014/main" id="{A3481E13-4175-4F0D-966D-2109B9AE3CDD}"/>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74BE97C-FE03-4A6C-BBA2-09E6291090CC}"/>
              </a:ext>
            </a:extLst>
          </p:cNvPr>
          <p:cNvSpPr/>
          <p:nvPr>
            <p:custDataLst>
              <p:tags r:id="rId40"/>
            </p:custDataLst>
          </p:nvPr>
        </p:nvSpPr>
        <p:spPr bwMode="gray">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3000" b="1" i="0" baseline="0" dirty="0">
              <a:latin typeface="Arial" panose="020B0604020202020204" pitchFamily="34" charset="0"/>
              <a:ea typeface="+mj-ea"/>
              <a:cs typeface="+mj-cs"/>
              <a:sym typeface="Arial" panose="020B0604020202020204" pitchFamily="34" charset="0"/>
            </a:endParaRPr>
          </a:p>
        </p:txBody>
      </p:sp>
      <p:sp>
        <p:nvSpPr>
          <p:cNvPr id="6" name="Datumsplatzhalter 5">
            <a:extLst>
              <a:ext uri="{FF2B5EF4-FFF2-40B4-BE49-F238E27FC236}">
                <a16:creationId xmlns:a16="http://schemas.microsoft.com/office/drawing/2014/main" id="{C88631E7-C14D-418E-8123-1BD528B5760F}"/>
              </a:ext>
            </a:extLst>
          </p:cNvPr>
          <p:cNvSpPr>
            <a:spLocks noGrp="1"/>
          </p:cNvSpPr>
          <p:nvPr>
            <p:ph type="dt" sz="half" idx="2"/>
          </p:nvPr>
        </p:nvSpPr>
        <p:spPr bwMode="gray">
          <a:xfrm>
            <a:off x="10236460" y="6356350"/>
            <a:ext cx="1368165" cy="158256"/>
          </a:xfrm>
          <a:prstGeom prst="rect">
            <a:avLst/>
          </a:prstGeom>
        </p:spPr>
        <p:txBody>
          <a:bodyPr vert="horz" wrap="none" lIns="0" tIns="0" rIns="0" bIns="0" rtlCol="0" anchor="b" anchorCtr="0"/>
          <a:lstStyle>
            <a:lvl1pPr algn="r" rtl="0">
              <a:defRPr sz="900">
                <a:solidFill>
                  <a:schemeClr val="tx1"/>
                </a:solidFill>
              </a:defRPr>
            </a:lvl1pPr>
          </a:lstStyle>
          <a:p>
            <a:fld id="{4965A01F-7B96-431E-9C3E-F26622FDBB65}" type="datetime1">
              <a:rPr lang="en-US"/>
              <a:t>1/16/2022</a:t>
            </a:fld>
            <a:endParaRPr lang="en-US" dirty="0"/>
          </a:p>
        </p:txBody>
      </p:sp>
      <p:sp>
        <p:nvSpPr>
          <p:cNvPr id="8" name="Foliennummernplatzhalter 7">
            <a:extLst>
              <a:ext uri="{FF2B5EF4-FFF2-40B4-BE49-F238E27FC236}">
                <a16:creationId xmlns:a16="http://schemas.microsoft.com/office/drawing/2014/main" id="{16B95E2C-4B37-49A4-88B8-CB9FD1E140AB}"/>
              </a:ext>
            </a:extLst>
          </p:cNvPr>
          <p:cNvSpPr>
            <a:spLocks noGrp="1"/>
          </p:cNvSpPr>
          <p:nvPr>
            <p:ph type="sldNum" sz="quarter" idx="4"/>
          </p:nvPr>
        </p:nvSpPr>
        <p:spPr bwMode="gray">
          <a:xfrm>
            <a:off x="6203950" y="6356350"/>
            <a:ext cx="864158" cy="154196"/>
          </a:xfrm>
          <a:prstGeom prst="rect">
            <a:avLst/>
          </a:prstGeom>
        </p:spPr>
        <p:txBody>
          <a:bodyPr vert="horz" wrap="none" lIns="0" tIns="0" rIns="0" bIns="0" rtlCol="0" anchor="b" anchorCtr="0"/>
          <a:lstStyle>
            <a:lvl1pPr algn="l" rtl="0">
              <a:defRPr sz="900">
                <a:solidFill>
                  <a:schemeClr val="tx1"/>
                </a:solidFill>
              </a:defRPr>
            </a:lvl1pPr>
          </a:lstStyle>
          <a:p>
            <a:fld id="{62CB3E74-FC4B-418A-B5F6-72ED80208EB2}" type="slidenum">
              <a:rPr lang="en-US"/>
              <a:pPr/>
              <a:t>‹#›</a:t>
            </a:fld>
            <a:endParaRPr lang="en-US" dirty="0"/>
          </a:p>
        </p:txBody>
      </p:sp>
      <p:sp>
        <p:nvSpPr>
          <p:cNvPr id="2" name="Titelplatzhalter 1">
            <a:extLst>
              <a:ext uri="{FF2B5EF4-FFF2-40B4-BE49-F238E27FC236}">
                <a16:creationId xmlns:a16="http://schemas.microsoft.com/office/drawing/2014/main" id="{9AB26C2F-D9F3-400B-A4CB-4A13AFC3507A}"/>
              </a:ext>
            </a:extLst>
          </p:cNvPr>
          <p:cNvSpPr>
            <a:spLocks noGrp="1"/>
          </p:cNvSpPr>
          <p:nvPr>
            <p:ph type="title"/>
          </p:nvPr>
        </p:nvSpPr>
        <p:spPr bwMode="gray">
          <a:xfrm>
            <a:off x="587376" y="368300"/>
            <a:ext cx="11017250" cy="1008000"/>
          </a:xfrm>
          <a:prstGeom prst="rect">
            <a:avLst/>
          </a:prstGeom>
        </p:spPr>
        <p:txBody>
          <a:bodyPr vert="horz" lIns="0" tIns="0" rIns="0" bIns="0" rtlCol="0" anchor="t" anchorCtr="0">
            <a:noAutofit/>
          </a:bodyPr>
          <a:lstStyle/>
          <a:p>
            <a:r>
              <a:rPr lang="en-US" noProof="0" dirty="0"/>
              <a:t>Slide title format</a:t>
            </a:r>
          </a:p>
        </p:txBody>
      </p:sp>
      <p:sp>
        <p:nvSpPr>
          <p:cNvPr id="3" name="Textplatzhalter 2">
            <a:extLst>
              <a:ext uri="{FF2B5EF4-FFF2-40B4-BE49-F238E27FC236}">
                <a16:creationId xmlns:a16="http://schemas.microsoft.com/office/drawing/2014/main" id="{E97C92C2-1BF1-4901-A94D-EE08E8BC967C}"/>
              </a:ext>
            </a:extLst>
          </p:cNvPr>
          <p:cNvSpPr>
            <a:spLocks noGrp="1"/>
          </p:cNvSpPr>
          <p:nvPr>
            <p:ph type="body" idx="1"/>
          </p:nvPr>
        </p:nvSpPr>
        <p:spPr bwMode="gray">
          <a:xfrm>
            <a:off x="587376" y="1916113"/>
            <a:ext cx="11017249" cy="4213225"/>
          </a:xfrm>
          <a:prstGeom prst="rect">
            <a:avLst/>
          </a:prstGeom>
        </p:spPr>
        <p:txBody>
          <a:bodyPr vert="horz" lIns="0" tIns="0" rIns="0" bIns="0" rtlCol="0" anchor="t" anchorCtr="0">
            <a:noAutofit/>
          </a:bodyPr>
          <a:lstStyle/>
          <a:p>
            <a:pPr lvl="0"/>
            <a:r>
              <a:rPr lang="en-US" noProof="0" dirty="0"/>
              <a:t>Level 1</a:t>
            </a:r>
          </a:p>
          <a:p>
            <a:pPr lvl="1"/>
            <a:r>
              <a:rPr lang="en-US" noProof="0" dirty="0"/>
              <a:t>Level 2</a:t>
            </a:r>
          </a:p>
          <a:p>
            <a:pPr lvl="2"/>
            <a:r>
              <a:rPr lang="en-US" noProof="0" dirty="0"/>
              <a:t>Level 3</a:t>
            </a:r>
          </a:p>
          <a:p>
            <a:pPr lvl="3"/>
            <a:r>
              <a:rPr lang="en-US" noProof="0" dirty="0"/>
              <a:t>Level 4 (with space after)</a:t>
            </a:r>
          </a:p>
          <a:p>
            <a:pPr lvl="4"/>
            <a:r>
              <a:rPr lang="en-US" noProof="0" dirty="0"/>
              <a:t>Level 5 (with space after)</a:t>
            </a:r>
          </a:p>
          <a:p>
            <a:pPr lvl="5"/>
            <a:r>
              <a:rPr lang="en-US" noProof="0" dirty="0"/>
              <a:t>Level 6 (with space after)</a:t>
            </a:r>
          </a:p>
          <a:p>
            <a:pPr lvl="6"/>
            <a:r>
              <a:rPr lang="en-US" noProof="0" dirty="0"/>
              <a:t>Level 7 (for tables)</a:t>
            </a:r>
          </a:p>
          <a:p>
            <a:pPr lvl="7"/>
            <a:r>
              <a:rPr lang="en-US" noProof="0" dirty="0"/>
              <a:t>Level 8</a:t>
            </a:r>
          </a:p>
          <a:p>
            <a:pPr lvl="8"/>
            <a:r>
              <a:rPr lang="en-US" noProof="0" dirty="0"/>
              <a:t>Level 9</a:t>
            </a:r>
          </a:p>
          <a:p>
            <a:pPr lvl="5"/>
            <a:endParaRPr lang="en-US" noProof="0" dirty="0"/>
          </a:p>
        </p:txBody>
      </p:sp>
      <p:pic>
        <p:nvPicPr>
          <p:cNvPr id="11" name="Grafik 10">
            <a:extLst>
              <a:ext uri="{FF2B5EF4-FFF2-40B4-BE49-F238E27FC236}">
                <a16:creationId xmlns:a16="http://schemas.microsoft.com/office/drawing/2014/main" id="{82FB32ED-7313-48F3-BEAB-66A1495A2DE4}"/>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bwMode="gray">
          <a:xfrm>
            <a:off x="601200" y="6376596"/>
            <a:ext cx="576000" cy="124679"/>
          </a:xfrm>
          <a:prstGeom prst="rect">
            <a:avLst/>
          </a:prstGeom>
        </p:spPr>
      </p:pic>
      <p:cxnSp>
        <p:nvCxnSpPr>
          <p:cNvPr id="14" name="Gerader Verbinder 13">
            <a:extLst>
              <a:ext uri="{FF2B5EF4-FFF2-40B4-BE49-F238E27FC236}">
                <a16:creationId xmlns:a16="http://schemas.microsoft.com/office/drawing/2014/main" id="{91D01EFA-86BB-4DB6-A6C5-97DB9855E6A6}"/>
              </a:ext>
            </a:extLst>
          </p:cNvPr>
          <p:cNvCxnSpPr/>
          <p:nvPr userDrawn="1"/>
        </p:nvCxnSpPr>
        <p:spPr bwMode="gray">
          <a:xfrm>
            <a:off x="587375" y="-171392"/>
            <a:ext cx="0" cy="72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A3CE7AE3-114B-476C-8D0E-80A9EA81927B}"/>
              </a:ext>
            </a:extLst>
          </p:cNvPr>
          <p:cNvCxnSpPr/>
          <p:nvPr userDrawn="1"/>
        </p:nvCxnSpPr>
        <p:spPr bwMode="gray">
          <a:xfrm>
            <a:off x="3180888" y="-171392"/>
            <a:ext cx="0" cy="72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3DA02AB2-3CF6-42D0-9F5C-203D0ED8D898}"/>
              </a:ext>
            </a:extLst>
          </p:cNvPr>
          <p:cNvCxnSpPr/>
          <p:nvPr userDrawn="1"/>
        </p:nvCxnSpPr>
        <p:spPr bwMode="gray">
          <a:xfrm>
            <a:off x="3395663" y="-171392"/>
            <a:ext cx="0" cy="72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A6E3856C-D81D-4206-A57F-ECEE270927E6}"/>
              </a:ext>
            </a:extLst>
          </p:cNvPr>
          <p:cNvCxnSpPr/>
          <p:nvPr userDrawn="1"/>
        </p:nvCxnSpPr>
        <p:spPr bwMode="gray">
          <a:xfrm>
            <a:off x="4117513" y="-171392"/>
            <a:ext cx="0" cy="72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D2D45B10-8E0F-4283-90AF-7CF7D7CC9864}"/>
              </a:ext>
            </a:extLst>
          </p:cNvPr>
          <p:cNvCxnSpPr/>
          <p:nvPr userDrawn="1"/>
        </p:nvCxnSpPr>
        <p:spPr bwMode="gray">
          <a:xfrm>
            <a:off x="4332288" y="-171392"/>
            <a:ext cx="0" cy="72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3CD1F7C8-9209-4739-A992-D36AA0962454}"/>
              </a:ext>
            </a:extLst>
          </p:cNvPr>
          <p:cNvCxnSpPr/>
          <p:nvPr userDrawn="1"/>
        </p:nvCxnSpPr>
        <p:spPr bwMode="gray">
          <a:xfrm>
            <a:off x="5989175" y="-171392"/>
            <a:ext cx="0" cy="72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E4C6C6F9-782E-4314-B82A-77C046ED46CC}"/>
              </a:ext>
            </a:extLst>
          </p:cNvPr>
          <p:cNvCxnSpPr/>
          <p:nvPr userDrawn="1"/>
        </p:nvCxnSpPr>
        <p:spPr bwMode="gray">
          <a:xfrm>
            <a:off x="6203950" y="-171392"/>
            <a:ext cx="0" cy="72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C1980BCF-A593-4540-B8C0-EF4E05F71239}"/>
              </a:ext>
            </a:extLst>
          </p:cNvPr>
          <p:cNvCxnSpPr/>
          <p:nvPr userDrawn="1"/>
        </p:nvCxnSpPr>
        <p:spPr bwMode="gray">
          <a:xfrm>
            <a:off x="7860838" y="-171392"/>
            <a:ext cx="0" cy="72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6F9385A4-5E52-4E1F-B347-939548835811}"/>
              </a:ext>
            </a:extLst>
          </p:cNvPr>
          <p:cNvCxnSpPr/>
          <p:nvPr userDrawn="1"/>
        </p:nvCxnSpPr>
        <p:spPr bwMode="gray">
          <a:xfrm>
            <a:off x="8075613" y="-171392"/>
            <a:ext cx="0" cy="72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15C1A9B0-2C3A-4BF1-9C4C-79951B483028}"/>
              </a:ext>
            </a:extLst>
          </p:cNvPr>
          <p:cNvCxnSpPr/>
          <p:nvPr userDrawn="1"/>
        </p:nvCxnSpPr>
        <p:spPr bwMode="gray">
          <a:xfrm>
            <a:off x="8797463" y="-171392"/>
            <a:ext cx="0" cy="72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A0ED4C48-A128-4303-8E00-9E87475BD643}"/>
              </a:ext>
            </a:extLst>
          </p:cNvPr>
          <p:cNvCxnSpPr/>
          <p:nvPr userDrawn="1"/>
        </p:nvCxnSpPr>
        <p:spPr bwMode="gray">
          <a:xfrm>
            <a:off x="9012238" y="-171392"/>
            <a:ext cx="0" cy="72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785881C0-3CD7-4AE8-83A0-F2BBFC7A5116}"/>
              </a:ext>
            </a:extLst>
          </p:cNvPr>
          <p:cNvCxnSpPr/>
          <p:nvPr userDrawn="1"/>
        </p:nvCxnSpPr>
        <p:spPr bwMode="gray">
          <a:xfrm>
            <a:off x="11604625" y="-171392"/>
            <a:ext cx="0" cy="72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DE6B8EED-C9F6-4939-B9B8-744AFF2FCB44}"/>
              </a:ext>
            </a:extLst>
          </p:cNvPr>
          <p:cNvCxnSpPr>
            <a:cxnSpLocks/>
          </p:cNvCxnSpPr>
          <p:nvPr userDrawn="1"/>
        </p:nvCxnSpPr>
        <p:spPr bwMode="gray">
          <a:xfrm rot="5400000">
            <a:off x="-132696" y="332660"/>
            <a:ext cx="0" cy="72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B9FBF19B-603D-45CE-8D10-C3EC1DD40104}"/>
              </a:ext>
            </a:extLst>
          </p:cNvPr>
          <p:cNvCxnSpPr>
            <a:cxnSpLocks/>
          </p:cNvCxnSpPr>
          <p:nvPr userDrawn="1"/>
        </p:nvCxnSpPr>
        <p:spPr bwMode="gray">
          <a:xfrm rot="5400000">
            <a:off x="-132696" y="1448313"/>
            <a:ext cx="0" cy="72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F6E9C529-BB00-4D99-8467-DDA0B9923A99}"/>
              </a:ext>
            </a:extLst>
          </p:cNvPr>
          <p:cNvCxnSpPr>
            <a:cxnSpLocks/>
          </p:cNvCxnSpPr>
          <p:nvPr userDrawn="1"/>
        </p:nvCxnSpPr>
        <p:spPr bwMode="gray">
          <a:xfrm rot="5400000">
            <a:off x="-132696" y="1665007"/>
            <a:ext cx="0"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639AE7B6-DC3E-41CE-92B1-01E7183A42F1}"/>
              </a:ext>
            </a:extLst>
          </p:cNvPr>
          <p:cNvCxnSpPr>
            <a:cxnSpLocks/>
          </p:cNvCxnSpPr>
          <p:nvPr userDrawn="1"/>
        </p:nvCxnSpPr>
        <p:spPr bwMode="gray">
          <a:xfrm rot="5400000">
            <a:off x="-132696" y="1880907"/>
            <a:ext cx="0" cy="72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3407112D-4023-40F1-98F2-4408FB128DAD}"/>
              </a:ext>
            </a:extLst>
          </p:cNvPr>
          <p:cNvCxnSpPr>
            <a:cxnSpLocks/>
          </p:cNvCxnSpPr>
          <p:nvPr userDrawn="1"/>
        </p:nvCxnSpPr>
        <p:spPr bwMode="gray">
          <a:xfrm rot="5400000">
            <a:off x="-132696" y="6093598"/>
            <a:ext cx="0"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6C7C8603-FA71-4BA1-93AF-49B1B345C4C6}"/>
              </a:ext>
            </a:extLst>
          </p:cNvPr>
          <p:cNvCxnSpPr>
            <a:cxnSpLocks/>
          </p:cNvCxnSpPr>
          <p:nvPr userDrawn="1"/>
        </p:nvCxnSpPr>
        <p:spPr bwMode="gray">
          <a:xfrm rot="5400000">
            <a:off x="-132696" y="6453700"/>
            <a:ext cx="0" cy="72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empower - DO NOT DELETE!!!" hidden="1">
            <a:extLst>
              <a:ext uri="{FF2B5EF4-FFF2-40B4-BE49-F238E27FC236}">
                <a16:creationId xmlns:a16="http://schemas.microsoft.com/office/drawing/2014/main" id="{0A2D3B76-1599-4406-9B59-11B369507856}"/>
              </a:ext>
            </a:extLst>
          </p:cNvPr>
          <p:cNvSpPr/>
          <p:nvPr userDrawn="1">
            <p:custDataLst>
              <p:tags r:id="rId41"/>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endParaRPr lang="en-GB" sz="1400" dirty="0"/>
          </a:p>
        </p:txBody>
      </p:sp>
      <p:sp>
        <p:nvSpPr>
          <p:cNvPr id="9" name="MSIPCMContentMarking" descr="{&quot;HashCode&quot;:442047029,&quot;Placement&quot;:&quot;Footer&quot;,&quot;Top&quot;:519.343,&quot;Left&quot;:453.295349,&quot;SlideWidth&quot;:960,&quot;SlideHeight&quot;:540}">
            <a:extLst>
              <a:ext uri="{FF2B5EF4-FFF2-40B4-BE49-F238E27FC236}">
                <a16:creationId xmlns:a16="http://schemas.microsoft.com/office/drawing/2014/main" id="{1D1CD7B5-6442-4D00-9680-44CFA82E18F2}"/>
              </a:ext>
            </a:extLst>
          </p:cNvPr>
          <p:cNvSpPr txBox="1"/>
          <p:nvPr userDrawn="1"/>
        </p:nvSpPr>
        <p:spPr>
          <a:xfrm>
            <a:off x="5756851" y="6595656"/>
            <a:ext cx="678298" cy="262344"/>
          </a:xfrm>
          <a:prstGeom prst="rect">
            <a:avLst/>
          </a:prstGeom>
          <a:noFill/>
        </p:spPr>
        <p:txBody>
          <a:bodyPr vert="horz" wrap="square" lIns="0" tIns="0" rIns="0" bIns="0" rtlCol="0" anchor="ctr" anchorCtr="1">
            <a:noAutofit/>
          </a:bodyPr>
          <a:lstStyle/>
          <a:p>
            <a:pPr algn="ctr">
              <a:spcBef>
                <a:spcPts val="0"/>
              </a:spcBef>
              <a:spcAft>
                <a:spcPts val="0"/>
              </a:spcAft>
            </a:pPr>
            <a:r>
              <a:rPr lang="en-US" sz="1000">
                <a:solidFill>
                  <a:srgbClr val="000000"/>
                </a:solidFill>
                <a:latin typeface="Calibri" panose="020F0502020204030204" pitchFamily="34" charset="0"/>
              </a:rPr>
              <a:t>Internal</a:t>
            </a:r>
            <a:endParaRPr lang="en-US"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39761583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Lst>
  <p:hf hdr="0" ftr="0"/>
  <p:txStyles>
    <p:titleStyle>
      <a:lvl1pPr algn="l" defTabSz="914400" rtl="0" eaLnBrk="1" latinLnBrk="0" hangingPunct="1">
        <a:lnSpc>
          <a:spcPct val="1100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p:bodyStyle>
    <p:otherStyle>
      <a:defPPr>
        <a:defRPr lang="de-DE"/>
      </a:defPPr>
      <a:lvl1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2pPr>
      <a:lvl3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4088">
          <p15:clr>
            <a:srgbClr val="F26B43"/>
          </p15:clr>
        </p15:guide>
        <p15:guide id="8" orient="horz" pos="3861">
          <p15:clr>
            <a:srgbClr val="F26B43"/>
          </p15:clr>
        </p15:guide>
        <p15:guide id="9" orient="horz" pos="935">
          <p15:clr>
            <a:srgbClr val="F26B43"/>
          </p15:clr>
        </p15:guide>
        <p15:guide id="10" orient="horz" pos="232">
          <p15:clr>
            <a:srgbClr val="F26B43"/>
          </p15:clr>
        </p15:guide>
        <p15:guide id="12" pos="370">
          <p15:clr>
            <a:srgbClr val="F26B43"/>
          </p15:clr>
        </p15:guide>
        <p15:guide id="13" pos="7310">
          <p15:clr>
            <a:srgbClr val="F26B43"/>
          </p15:clr>
        </p15:guide>
        <p15:guide id="14" orient="horz" pos="1071">
          <p15:clr>
            <a:srgbClr val="F26B43"/>
          </p15:clr>
        </p15:guide>
        <p15:guide id="23" orient="horz" pos="120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33.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35.xml"/><Relationship Id="rId1" Type="http://schemas.openxmlformats.org/officeDocument/2006/relationships/tags" Target="../tags/tag60.xml"/><Relationship Id="rId5" Type="http://schemas.openxmlformats.org/officeDocument/2006/relationships/image" Target="../media/image36.png"/><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35.xml"/><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35.xml"/><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8" Type="http://schemas.openxmlformats.org/officeDocument/2006/relationships/hyperlink" Target="https://www.bloomberg.com/news/articles/2021-11-08/options-craze-is-rewriting-rules-of-vix-s-p-500-relationship" TargetMode="External"/><Relationship Id="rId3" Type="http://schemas.openxmlformats.org/officeDocument/2006/relationships/hyperlink" Target="https://www.cboe.com/insights/posts/the-week-that-was-september-6-to-september-10/" TargetMode="External"/><Relationship Id="rId7" Type="http://schemas.openxmlformats.org/officeDocument/2006/relationships/hyperlink" Target="https://www.bloomberg.com/news/articles/2021-11-30/19-hour-vix-options-trade-surges-as-stock-market-resumes-swoon" TargetMode="External"/><Relationship Id="rId2" Type="http://schemas.openxmlformats.org/officeDocument/2006/relationships/hyperlink" Target="https://www.cmegroup.com/daily_bulletin/monthly_volume/Web_Volume_Comparison_CME.pdf" TargetMode="External"/><Relationship Id="rId1" Type="http://schemas.openxmlformats.org/officeDocument/2006/relationships/slideLayout" Target="../slideLayouts/slideLayout35.xml"/><Relationship Id="rId6" Type="http://schemas.openxmlformats.org/officeDocument/2006/relationships/hyperlink" Target="https://www.cboe.com/insights/posts/inside-volatility-trading-professional-sports-global-equity-markets-and-volatility/" TargetMode="External"/><Relationship Id="rId5" Type="http://schemas.openxmlformats.org/officeDocument/2006/relationships/hyperlink" Target="https://www.cboe.com/insights/posts/exploring-the-benefits-of-small-cap-stocks-and-mrut-options/" TargetMode="External"/><Relationship Id="rId4" Type="http://schemas.openxmlformats.org/officeDocument/2006/relationships/hyperlink" Target="https://ir.cboe.com/news-and-events/2021/07-01-2021/cboe-announces-launch-new-cboe-3-month-implied-correlation-index" TargetMode="External"/><Relationship Id="rId9" Type="http://schemas.openxmlformats.org/officeDocument/2006/relationships/hyperlink" Target="https://www.bloomberg.com/news/articles/2021-12-03/how-to-handle-s-p-500-swinging-most-in-a-year-as-vix-soars"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21.png"/><Relationship Id="rId5" Type="http://schemas.openxmlformats.org/officeDocument/2006/relationships/notesSlide" Target="../notesSlides/notesSlide2.xml"/><Relationship Id="rId4"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22.png"/><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4.xml"/><Relationship Id="rId7" Type="http://schemas.openxmlformats.org/officeDocument/2006/relationships/image" Target="../media/image23.png"/><Relationship Id="rId2" Type="http://schemas.openxmlformats.org/officeDocument/2006/relationships/slideLayout" Target="../slideLayouts/slideLayout19.xml"/><Relationship Id="rId1" Type="http://schemas.openxmlformats.org/officeDocument/2006/relationships/tags" Target="../tags/tag55.xml"/><Relationship Id="rId6" Type="http://schemas.openxmlformats.org/officeDocument/2006/relationships/hyperlink" Target="https://www.theice.com/marketdata/reports/8" TargetMode="External"/><Relationship Id="rId5" Type="http://schemas.openxmlformats.org/officeDocument/2006/relationships/hyperlink" Target="https://www.euronext.com/en/about/media/euronext-press-releases/euronext-announces-volumes-for-october-2021" TargetMode="External"/><Relationship Id="rId4" Type="http://schemas.openxmlformats.org/officeDocument/2006/relationships/hyperlink" Target="https://www.cmegroup.com/market-data/volume-open-interest.html" TargetMode="External"/><Relationship Id="rId9"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35.xml"/><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35.xml"/><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5.xml"/><Relationship Id="rId1" Type="http://schemas.openxmlformats.org/officeDocument/2006/relationships/tags" Target="../tags/tag56.xml"/><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197ADF-C453-465F-AAE2-287C684914F8}"/>
              </a:ext>
            </a:extLst>
          </p:cNvPr>
          <p:cNvSpPr>
            <a:spLocks noGrp="1"/>
          </p:cNvSpPr>
          <p:nvPr>
            <p:ph type="ctrTitle"/>
          </p:nvPr>
        </p:nvSpPr>
        <p:spPr>
          <a:xfrm>
            <a:off x="586817" y="2096852"/>
            <a:ext cx="7272896" cy="906892"/>
          </a:xfrm>
        </p:spPr>
        <p:txBody>
          <a:bodyPr/>
          <a:lstStyle/>
          <a:p>
            <a:r>
              <a:rPr lang="en-US" dirty="0"/>
              <a:t>Volatility &amp; Volume</a:t>
            </a:r>
          </a:p>
        </p:txBody>
      </p:sp>
      <p:sp>
        <p:nvSpPr>
          <p:cNvPr id="3" name="Subtitle 2">
            <a:extLst>
              <a:ext uri="{FF2B5EF4-FFF2-40B4-BE49-F238E27FC236}">
                <a16:creationId xmlns:a16="http://schemas.microsoft.com/office/drawing/2014/main" id="{EF80CBA8-15C9-404E-B71F-9D49D68DB2C8}"/>
              </a:ext>
            </a:extLst>
          </p:cNvPr>
          <p:cNvSpPr>
            <a:spLocks noGrp="1"/>
          </p:cNvSpPr>
          <p:nvPr>
            <p:ph type="subTitle" idx="1"/>
          </p:nvPr>
        </p:nvSpPr>
        <p:spPr>
          <a:xfrm>
            <a:off x="603151" y="2852935"/>
            <a:ext cx="5401233" cy="1321499"/>
          </a:xfrm>
        </p:spPr>
        <p:txBody>
          <a:bodyPr/>
          <a:lstStyle/>
          <a:p>
            <a:r>
              <a:rPr lang="en-US" dirty="0"/>
              <a:t>Detailed Analysis on Relationships</a:t>
            </a:r>
          </a:p>
          <a:p>
            <a:r>
              <a:rPr lang="en-US" dirty="0"/>
              <a:t>FESX Case Study</a:t>
            </a:r>
          </a:p>
        </p:txBody>
      </p:sp>
      <p:sp>
        <p:nvSpPr>
          <p:cNvPr id="4" name="Date Placeholder 3">
            <a:extLst>
              <a:ext uri="{FF2B5EF4-FFF2-40B4-BE49-F238E27FC236}">
                <a16:creationId xmlns:a16="http://schemas.microsoft.com/office/drawing/2014/main" id="{26E623B3-25B5-4224-878D-B6F0965BB111}"/>
              </a:ext>
            </a:extLst>
          </p:cNvPr>
          <p:cNvSpPr>
            <a:spLocks noGrp="1"/>
          </p:cNvSpPr>
          <p:nvPr>
            <p:ph type="dt" sz="half" idx="10"/>
          </p:nvPr>
        </p:nvSpPr>
        <p:spPr>
          <a:xfrm>
            <a:off x="586817" y="3710241"/>
            <a:ext cx="3529571" cy="288032"/>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201751"/>
                </a:solidFill>
                <a:effectLst/>
                <a:uLnTx/>
                <a:uFillTx/>
                <a:latin typeface="Arial"/>
                <a:ea typeface="+mn-ea"/>
                <a:cs typeface="+mn-cs"/>
              </a:rPr>
              <a:t>17 January 2021</a:t>
            </a:r>
          </a:p>
        </p:txBody>
      </p:sp>
    </p:spTree>
    <p:extLst>
      <p:ext uri="{BB962C8B-B14F-4D97-AF65-F5344CB8AC3E}">
        <p14:creationId xmlns:p14="http://schemas.microsoft.com/office/powerpoint/2010/main" val="38920382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A0CA3DC-BFF6-4E4D-A999-6C4584846B5B}"/>
              </a:ext>
            </a:extLst>
          </p:cNvPr>
          <p:cNvSpPr>
            <a:spLocks noGrp="1"/>
          </p:cNvSpPr>
          <p:nvPr>
            <p:ph type="sldNum" sz="quarter" idx="11"/>
          </p:nvPr>
        </p:nvSpPr>
        <p:spPr/>
        <p:txBody>
          <a:bodyPr/>
          <a:lstStyle/>
          <a:p>
            <a:fld id="{62CB3E74-FC4B-418A-B5F6-72ED80208EB2}" type="slidenum">
              <a:rPr lang="en-US" noProof="0" smtClean="0"/>
              <a:pPr/>
              <a:t>10</a:t>
            </a:fld>
            <a:endParaRPr lang="en-US" noProof="0"/>
          </a:p>
        </p:txBody>
      </p:sp>
      <p:sp>
        <p:nvSpPr>
          <p:cNvPr id="8" name="Title 1">
            <a:extLst>
              <a:ext uri="{FF2B5EF4-FFF2-40B4-BE49-F238E27FC236}">
                <a16:creationId xmlns:a16="http://schemas.microsoft.com/office/drawing/2014/main" id="{E7A962CA-73E8-4815-9051-7435E7093762}"/>
              </a:ext>
            </a:extLst>
          </p:cNvPr>
          <p:cNvSpPr txBox="1">
            <a:spLocks/>
          </p:cNvSpPr>
          <p:nvPr/>
        </p:nvSpPr>
        <p:spPr bwMode="gray">
          <a:xfrm>
            <a:off x="587376" y="368300"/>
            <a:ext cx="11017250" cy="512970"/>
          </a:xfrm>
          <a:prstGeom prst="rect">
            <a:avLst/>
          </a:prstGeom>
        </p:spPr>
        <p:txBody>
          <a:bodyPr vert="horz" lIns="0" tIns="0" rIns="0" bIns="0" rtlCol="0" anchor="t" anchorCtr="0">
            <a:noAutofit/>
          </a:bodyPr>
          <a:lstStyle>
            <a:lvl1pPr algn="l" defTabSz="914400" rtl="0" eaLnBrk="1" latinLnBrk="0" hangingPunct="1">
              <a:lnSpc>
                <a:spcPct val="110000"/>
              </a:lnSpc>
              <a:spcBef>
                <a:spcPct val="0"/>
              </a:spcBef>
              <a:buNone/>
              <a:defRPr sz="3000" b="1" kern="1200">
                <a:solidFill>
                  <a:schemeClr val="tx1"/>
                </a:solidFill>
                <a:latin typeface="+mj-lt"/>
                <a:ea typeface="+mj-ea"/>
                <a:cs typeface="+mj-cs"/>
              </a:defRPr>
            </a:lvl1pPr>
          </a:lstStyle>
          <a:p>
            <a:r>
              <a:rPr lang="en-US" dirty="0"/>
              <a:t>Impulse Response Functions</a:t>
            </a:r>
            <a:endParaRPr lang="en-US" sz="1800" i="1" dirty="0"/>
          </a:p>
        </p:txBody>
      </p:sp>
      <p:pic>
        <p:nvPicPr>
          <p:cNvPr id="18" name="Picture 17">
            <a:extLst>
              <a:ext uri="{FF2B5EF4-FFF2-40B4-BE49-F238E27FC236}">
                <a16:creationId xmlns:a16="http://schemas.microsoft.com/office/drawing/2014/main" id="{1544AF64-1232-4F50-B174-A7E3853506D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7375" y="1553863"/>
            <a:ext cx="3256976" cy="2286000"/>
          </a:xfrm>
          <a:prstGeom prst="rect">
            <a:avLst/>
          </a:prstGeom>
        </p:spPr>
      </p:pic>
      <p:pic>
        <p:nvPicPr>
          <p:cNvPr id="20" name="Picture 19">
            <a:extLst>
              <a:ext uri="{FF2B5EF4-FFF2-40B4-BE49-F238E27FC236}">
                <a16:creationId xmlns:a16="http://schemas.microsoft.com/office/drawing/2014/main" id="{B0BB0B5F-FDAB-420D-87D6-BBAAFF3B1AD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81202" y="1584175"/>
            <a:ext cx="3462191" cy="2286000"/>
          </a:xfrm>
          <a:prstGeom prst="rect">
            <a:avLst/>
          </a:prstGeom>
        </p:spPr>
      </p:pic>
      <p:sp>
        <p:nvSpPr>
          <p:cNvPr id="22" name="Content Placeholder 2">
            <a:extLst>
              <a:ext uri="{FF2B5EF4-FFF2-40B4-BE49-F238E27FC236}">
                <a16:creationId xmlns:a16="http://schemas.microsoft.com/office/drawing/2014/main" id="{CDC48FC0-4981-43E8-A8BE-BC4A479CD1BA}"/>
              </a:ext>
            </a:extLst>
          </p:cNvPr>
          <p:cNvSpPr txBox="1">
            <a:spLocks/>
          </p:cNvSpPr>
          <p:nvPr>
            <p:custDataLst>
              <p:tags r:id="rId1"/>
            </p:custDataLst>
          </p:nvPr>
        </p:nvSpPr>
        <p:spPr bwMode="gray">
          <a:xfrm>
            <a:off x="587374" y="926204"/>
            <a:ext cx="11017250" cy="546998"/>
          </a:xfrm>
          <a:prstGeom prst="rect">
            <a:avLst/>
          </a:prstGeom>
        </p:spPr>
        <p:txBody>
          <a:bodyPr vert="horz" lIns="0" tIns="0" rIns="0" bIns="0" rtlCol="0" anchor="t" anchorCtr="0">
            <a:noAutofit/>
          </a:bodyPr>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171450" indent="-171450" defTabSz="249238" fontAlgn="base">
              <a:lnSpc>
                <a:spcPct val="100000"/>
              </a:lnSpc>
              <a:spcBef>
                <a:spcPct val="0"/>
              </a:spcBef>
              <a:spcAft>
                <a:spcPct val="0"/>
              </a:spcAft>
              <a:defRPr/>
            </a:pPr>
            <a:endParaRPr lang="en-US" sz="1400" kern="0" dirty="0">
              <a:solidFill>
                <a:schemeClr val="dk1"/>
              </a:solidFill>
            </a:endParaRPr>
          </a:p>
        </p:txBody>
      </p:sp>
      <p:sp>
        <p:nvSpPr>
          <p:cNvPr id="23" name="Content Placeholder 2">
            <a:extLst>
              <a:ext uri="{FF2B5EF4-FFF2-40B4-BE49-F238E27FC236}">
                <a16:creationId xmlns:a16="http://schemas.microsoft.com/office/drawing/2014/main" id="{11211CDD-81F6-4F07-9B9E-F693DE202CB8}"/>
              </a:ext>
            </a:extLst>
          </p:cNvPr>
          <p:cNvSpPr txBox="1">
            <a:spLocks/>
          </p:cNvSpPr>
          <p:nvPr>
            <p:custDataLst>
              <p:tags r:id="rId2"/>
            </p:custDataLst>
          </p:nvPr>
        </p:nvSpPr>
        <p:spPr bwMode="gray">
          <a:xfrm>
            <a:off x="587374" y="1037177"/>
            <a:ext cx="11017249" cy="894271"/>
          </a:xfrm>
          <a:prstGeom prst="rect">
            <a:avLst/>
          </a:prstGeom>
        </p:spPr>
        <p:txBody>
          <a:bodyPr vert="horz" lIns="0" tIns="0" rIns="0" bIns="0" rtlCol="0" anchor="t" anchorCtr="0">
            <a:noAutofit/>
          </a:bodyPr>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171450" indent="-171450" defTabSz="249238" fontAlgn="base">
              <a:lnSpc>
                <a:spcPct val="100000"/>
              </a:lnSpc>
              <a:spcBef>
                <a:spcPct val="0"/>
              </a:spcBef>
              <a:spcAft>
                <a:spcPct val="0"/>
              </a:spcAft>
              <a:defRPr/>
            </a:pPr>
            <a:r>
              <a:rPr lang="en-US" sz="1400" kern="0" dirty="0">
                <a:solidFill>
                  <a:schemeClr val="dk1"/>
                </a:solidFill>
              </a:rPr>
              <a:t>Impulse Response Functions allow us to calculate and graphically present what would happen with the number of traded contracts in our VAR model through time, if a shock is introduced into one of the variables</a:t>
            </a:r>
          </a:p>
        </p:txBody>
      </p:sp>
      <p:pic>
        <p:nvPicPr>
          <p:cNvPr id="27" name="Picture 26">
            <a:extLst>
              <a:ext uri="{FF2B5EF4-FFF2-40B4-BE49-F238E27FC236}">
                <a16:creationId xmlns:a16="http://schemas.microsoft.com/office/drawing/2014/main" id="{3662119C-450F-464F-B441-73F6B57B80D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80246" y="1484313"/>
            <a:ext cx="3465576" cy="2439042"/>
          </a:xfrm>
          <a:prstGeom prst="rect">
            <a:avLst/>
          </a:prstGeom>
        </p:spPr>
      </p:pic>
      <p:sp>
        <p:nvSpPr>
          <p:cNvPr id="28" name="Content Placeholder 2">
            <a:extLst>
              <a:ext uri="{FF2B5EF4-FFF2-40B4-BE49-F238E27FC236}">
                <a16:creationId xmlns:a16="http://schemas.microsoft.com/office/drawing/2014/main" id="{BE5FDCD3-461B-4F89-94D5-D6C8622B75A9}"/>
              </a:ext>
            </a:extLst>
          </p:cNvPr>
          <p:cNvSpPr txBox="1">
            <a:spLocks/>
          </p:cNvSpPr>
          <p:nvPr>
            <p:custDataLst>
              <p:tags r:id="rId3"/>
            </p:custDataLst>
          </p:nvPr>
        </p:nvSpPr>
        <p:spPr bwMode="gray">
          <a:xfrm>
            <a:off x="600008" y="4179124"/>
            <a:ext cx="11017249" cy="1950214"/>
          </a:xfrm>
          <a:prstGeom prst="rect">
            <a:avLst/>
          </a:prstGeom>
        </p:spPr>
        <p:txBody>
          <a:bodyPr vert="horz" lIns="0" tIns="0" rIns="0" bIns="0" rtlCol="0" anchor="t" anchorCtr="0">
            <a:noAutofit/>
          </a:bodyPr>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342900" indent="-342900" defTabSz="249238" fontAlgn="base">
              <a:lnSpc>
                <a:spcPct val="100000"/>
              </a:lnSpc>
              <a:spcBef>
                <a:spcPct val="0"/>
              </a:spcBef>
              <a:spcAft>
                <a:spcPct val="0"/>
              </a:spcAft>
              <a:buFont typeface="+mj-lt"/>
              <a:buAutoNum type="arabicPeriod"/>
              <a:defRPr/>
            </a:pPr>
            <a:r>
              <a:rPr lang="en-US" sz="1400" kern="0" dirty="0">
                <a:solidFill>
                  <a:schemeClr val="dk1"/>
                </a:solidFill>
              </a:rPr>
              <a:t>A shock in implied and realized volatility have a mirror effect on volume, implied giving an initial positive effect and realized an initial negative effect on traded contracts</a:t>
            </a:r>
          </a:p>
          <a:p>
            <a:pPr marL="342900" indent="-342900" defTabSz="249238" fontAlgn="base">
              <a:lnSpc>
                <a:spcPct val="100000"/>
              </a:lnSpc>
              <a:spcBef>
                <a:spcPct val="0"/>
              </a:spcBef>
              <a:spcAft>
                <a:spcPct val="0"/>
              </a:spcAft>
              <a:buFont typeface="+mj-lt"/>
              <a:buAutoNum type="arabicPeriod"/>
              <a:defRPr/>
            </a:pPr>
            <a:r>
              <a:rPr lang="en-US" sz="1400" kern="0" dirty="0">
                <a:solidFill>
                  <a:schemeClr val="dk1"/>
                </a:solidFill>
              </a:rPr>
              <a:t>The shocks fade away in effect after 15 trading days for implied volatility and 10 trading days for realized volatility</a:t>
            </a:r>
          </a:p>
          <a:p>
            <a:pPr marL="342900" indent="-342900" defTabSz="249238" fontAlgn="base">
              <a:lnSpc>
                <a:spcPct val="100000"/>
              </a:lnSpc>
              <a:spcBef>
                <a:spcPct val="0"/>
              </a:spcBef>
              <a:spcAft>
                <a:spcPct val="0"/>
              </a:spcAft>
              <a:buFont typeface="+mj-lt"/>
              <a:buAutoNum type="arabicPeriod"/>
              <a:defRPr/>
            </a:pPr>
            <a:r>
              <a:rPr lang="en-US" sz="1400" kern="0" dirty="0">
                <a:solidFill>
                  <a:schemeClr val="dk1"/>
                </a:solidFill>
              </a:rPr>
              <a:t>Their difference has an initial positive effect on volume with the effects gradually turning negative and showing very long memory persisting after more than 20 trading days</a:t>
            </a:r>
          </a:p>
          <a:p>
            <a:pPr marL="342900" indent="-342900" defTabSz="249238" fontAlgn="base">
              <a:lnSpc>
                <a:spcPct val="100000"/>
              </a:lnSpc>
              <a:spcBef>
                <a:spcPct val="0"/>
              </a:spcBef>
              <a:spcAft>
                <a:spcPct val="0"/>
              </a:spcAft>
              <a:buFont typeface="+mj-lt"/>
              <a:buAutoNum type="arabicPeriod"/>
              <a:defRPr/>
            </a:pPr>
            <a:r>
              <a:rPr lang="en-US" sz="1400" kern="0" dirty="0">
                <a:solidFill>
                  <a:schemeClr val="dk1"/>
                </a:solidFill>
              </a:rPr>
              <a:t>Cumulative effects on volume can be seen in Appendix II, the cumulative effect of the lagged difference being around – 80 000 contracts after a prolonged 20 days lasting shock</a:t>
            </a:r>
          </a:p>
          <a:p>
            <a:pPr marL="342900" indent="-342900" defTabSz="249238" fontAlgn="base">
              <a:lnSpc>
                <a:spcPct val="100000"/>
              </a:lnSpc>
              <a:spcBef>
                <a:spcPct val="0"/>
              </a:spcBef>
              <a:spcAft>
                <a:spcPct val="0"/>
              </a:spcAft>
              <a:buFont typeface="+mj-lt"/>
              <a:buAutoNum type="arabicPeriod"/>
              <a:defRPr/>
            </a:pPr>
            <a:endParaRPr lang="en-US" sz="1400" kern="0" dirty="0">
              <a:solidFill>
                <a:schemeClr val="dk1"/>
              </a:solidFill>
            </a:endParaRPr>
          </a:p>
          <a:p>
            <a:pPr marL="171450" indent="-171450" defTabSz="249238" fontAlgn="base">
              <a:lnSpc>
                <a:spcPct val="100000"/>
              </a:lnSpc>
              <a:spcBef>
                <a:spcPct val="0"/>
              </a:spcBef>
              <a:spcAft>
                <a:spcPct val="0"/>
              </a:spcAft>
              <a:defRPr/>
            </a:pPr>
            <a:endParaRPr lang="en-US" sz="1400" kern="0" dirty="0">
              <a:solidFill>
                <a:schemeClr val="dk1"/>
              </a:solidFill>
            </a:endParaRPr>
          </a:p>
        </p:txBody>
      </p:sp>
      <p:sp>
        <p:nvSpPr>
          <p:cNvPr id="10" name="Rectangle 9">
            <a:extLst>
              <a:ext uri="{FF2B5EF4-FFF2-40B4-BE49-F238E27FC236}">
                <a16:creationId xmlns:a16="http://schemas.microsoft.com/office/drawing/2014/main" id="{52B9C955-2B2D-49FE-9601-92681A854353}"/>
              </a:ext>
            </a:extLst>
          </p:cNvPr>
          <p:cNvSpPr/>
          <p:nvPr/>
        </p:nvSpPr>
        <p:spPr>
          <a:xfrm>
            <a:off x="589848" y="3934466"/>
            <a:ext cx="11027409" cy="163997"/>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b="1" dirty="0"/>
              <a:t>Observations</a:t>
            </a:r>
          </a:p>
        </p:txBody>
      </p:sp>
    </p:spTree>
    <p:extLst>
      <p:ext uri="{BB962C8B-B14F-4D97-AF65-F5344CB8AC3E}">
        <p14:creationId xmlns:p14="http://schemas.microsoft.com/office/powerpoint/2010/main" val="36662804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A0CA3DC-BFF6-4E4D-A999-6C4584846B5B}"/>
              </a:ext>
            </a:extLst>
          </p:cNvPr>
          <p:cNvSpPr>
            <a:spLocks noGrp="1"/>
          </p:cNvSpPr>
          <p:nvPr>
            <p:ph type="sldNum" sz="quarter" idx="11"/>
          </p:nvPr>
        </p:nvSpPr>
        <p:spPr/>
        <p:txBody>
          <a:bodyPr/>
          <a:lstStyle/>
          <a:p>
            <a:fld id="{62CB3E74-FC4B-418A-B5F6-72ED80208EB2}" type="slidenum">
              <a:rPr lang="en-US" smtClean="0"/>
              <a:pPr/>
              <a:t>11</a:t>
            </a:fld>
            <a:endParaRPr lang="en-US"/>
          </a:p>
        </p:txBody>
      </p:sp>
      <p:sp>
        <p:nvSpPr>
          <p:cNvPr id="8" name="Title 1">
            <a:extLst>
              <a:ext uri="{FF2B5EF4-FFF2-40B4-BE49-F238E27FC236}">
                <a16:creationId xmlns:a16="http://schemas.microsoft.com/office/drawing/2014/main" id="{E7A962CA-73E8-4815-9051-7435E7093762}"/>
              </a:ext>
            </a:extLst>
          </p:cNvPr>
          <p:cNvSpPr txBox="1">
            <a:spLocks/>
          </p:cNvSpPr>
          <p:nvPr/>
        </p:nvSpPr>
        <p:spPr bwMode="gray">
          <a:xfrm>
            <a:off x="587376" y="368300"/>
            <a:ext cx="11017250" cy="512970"/>
          </a:xfrm>
          <a:prstGeom prst="rect">
            <a:avLst/>
          </a:prstGeom>
        </p:spPr>
        <p:txBody>
          <a:bodyPr vert="horz" lIns="0" tIns="0" rIns="0" bIns="0" rtlCol="0" anchor="t" anchorCtr="0">
            <a:noAutofit/>
          </a:bodyPr>
          <a:lstStyle>
            <a:lvl1pPr algn="l" defTabSz="914400" rtl="0" eaLnBrk="1" latinLnBrk="0" hangingPunct="1">
              <a:lnSpc>
                <a:spcPct val="110000"/>
              </a:lnSpc>
              <a:spcBef>
                <a:spcPct val="0"/>
              </a:spcBef>
              <a:buNone/>
              <a:defRPr sz="3000" b="1" kern="1200">
                <a:solidFill>
                  <a:schemeClr val="tx1"/>
                </a:solidFill>
                <a:latin typeface="+mj-lt"/>
                <a:ea typeface="+mj-ea"/>
                <a:cs typeface="+mj-cs"/>
              </a:defRPr>
            </a:lvl1pPr>
          </a:lstStyle>
          <a:p>
            <a:r>
              <a:rPr lang="en-US"/>
              <a:t>Structural Break COVID-19</a:t>
            </a:r>
            <a:endParaRPr lang="en-US" sz="1800" i="1"/>
          </a:p>
        </p:txBody>
      </p:sp>
      <p:sp>
        <p:nvSpPr>
          <p:cNvPr id="9" name="Content Placeholder 2">
            <a:extLst>
              <a:ext uri="{FF2B5EF4-FFF2-40B4-BE49-F238E27FC236}">
                <a16:creationId xmlns:a16="http://schemas.microsoft.com/office/drawing/2014/main" id="{3B8D6D23-35FC-4147-A80A-7D336D4EF40D}"/>
              </a:ext>
            </a:extLst>
          </p:cNvPr>
          <p:cNvSpPr txBox="1">
            <a:spLocks/>
          </p:cNvSpPr>
          <p:nvPr>
            <p:custDataLst>
              <p:tags r:id="rId1"/>
            </p:custDataLst>
          </p:nvPr>
        </p:nvSpPr>
        <p:spPr bwMode="gray">
          <a:xfrm>
            <a:off x="587375" y="1194560"/>
            <a:ext cx="11017250" cy="1732513"/>
          </a:xfrm>
          <a:prstGeom prst="rect">
            <a:avLst/>
          </a:prstGeom>
        </p:spPr>
        <p:txBody>
          <a:bodyPr vert="horz" lIns="0" tIns="0" rIns="0" bIns="0" rtlCol="0" anchor="t" anchorCtr="0">
            <a:noAutofit/>
          </a:bodyPr>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171450" indent="-171450" defTabSz="249238" fontAlgn="base">
              <a:lnSpc>
                <a:spcPct val="100000"/>
              </a:lnSpc>
              <a:spcBef>
                <a:spcPct val="0"/>
              </a:spcBef>
              <a:spcAft>
                <a:spcPct val="0"/>
              </a:spcAft>
              <a:defRPr/>
            </a:pPr>
            <a:r>
              <a:rPr lang="en-US" sz="1400" kern="0" dirty="0">
                <a:solidFill>
                  <a:schemeClr val="dk1"/>
                </a:solidFill>
              </a:rPr>
              <a:t>The logic of the test is to fit three models, one on the period pre covid, one on the period post covid and one master model over the entire period from 02.01.2017 – 12.10.2021</a:t>
            </a:r>
          </a:p>
          <a:p>
            <a:pPr marL="171450" indent="-171450" defTabSz="249238" fontAlgn="base">
              <a:lnSpc>
                <a:spcPct val="100000"/>
              </a:lnSpc>
              <a:spcBef>
                <a:spcPct val="0"/>
              </a:spcBef>
              <a:spcAft>
                <a:spcPct val="0"/>
              </a:spcAft>
              <a:defRPr/>
            </a:pPr>
            <a:r>
              <a:rPr lang="en-US" sz="1400" kern="0" dirty="0">
                <a:solidFill>
                  <a:schemeClr val="dk1"/>
                </a:solidFill>
              </a:rPr>
              <a:t>A statistical test is applied to measure how much do the coefficients of these models differ from each other and whether - based on their differences – we can determine that there was a structural break around the time of 11.03.2020</a:t>
            </a:r>
          </a:p>
          <a:p>
            <a:pPr marL="171450" indent="-171450" defTabSz="249238" fontAlgn="base">
              <a:lnSpc>
                <a:spcPct val="100000"/>
              </a:lnSpc>
              <a:spcBef>
                <a:spcPct val="0"/>
              </a:spcBef>
              <a:spcAft>
                <a:spcPct val="0"/>
              </a:spcAft>
              <a:defRPr/>
            </a:pPr>
            <a:r>
              <a:rPr lang="en-US" sz="1400" kern="0" dirty="0">
                <a:solidFill>
                  <a:schemeClr val="dk1"/>
                </a:solidFill>
              </a:rPr>
              <a:t>The tests are unanimous and on a confidence level of 95% determined a presence of a structural break in the time series volume vs implied and realized volatility as well as volume vs the difference between the two</a:t>
            </a:r>
          </a:p>
          <a:p>
            <a:pPr marL="171450" indent="-171450" defTabSz="249238" fontAlgn="base">
              <a:lnSpc>
                <a:spcPct val="100000"/>
              </a:lnSpc>
              <a:spcBef>
                <a:spcPct val="0"/>
              </a:spcBef>
              <a:spcAft>
                <a:spcPct val="0"/>
              </a:spcAft>
              <a:defRPr/>
            </a:pPr>
            <a:r>
              <a:rPr lang="en-US" sz="1400" kern="0" dirty="0">
                <a:solidFill>
                  <a:schemeClr val="dk1"/>
                </a:solidFill>
              </a:rPr>
              <a:t>Results were robust to changes in calculation of implied, realized volatility, volume as well as to how the difference was calculated with or without lag, showing very strong evidence of structural breaks</a:t>
            </a:r>
          </a:p>
          <a:p>
            <a:pPr marL="171450" indent="-171450" defTabSz="249238" fontAlgn="base">
              <a:lnSpc>
                <a:spcPct val="100000"/>
              </a:lnSpc>
              <a:spcBef>
                <a:spcPct val="0"/>
              </a:spcBef>
              <a:spcAft>
                <a:spcPct val="0"/>
              </a:spcAft>
              <a:defRPr/>
            </a:pPr>
            <a:endParaRPr lang="en-US" sz="1400" kern="0" dirty="0">
              <a:solidFill>
                <a:schemeClr val="dk1"/>
              </a:solidFill>
            </a:endParaRPr>
          </a:p>
        </p:txBody>
      </p:sp>
      <p:pic>
        <p:nvPicPr>
          <p:cNvPr id="10" name="Picture 9">
            <a:extLst>
              <a:ext uri="{FF2B5EF4-FFF2-40B4-BE49-F238E27FC236}">
                <a16:creationId xmlns:a16="http://schemas.microsoft.com/office/drawing/2014/main" id="{6E2B76C2-97A7-4B71-B72C-3510BECA27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1892" y="3354457"/>
            <a:ext cx="3518847" cy="3078991"/>
          </a:xfrm>
          <a:prstGeom prst="rect">
            <a:avLst/>
          </a:prstGeom>
        </p:spPr>
      </p:pic>
      <p:sp>
        <p:nvSpPr>
          <p:cNvPr id="14" name="Rectangle 13">
            <a:extLst>
              <a:ext uri="{FF2B5EF4-FFF2-40B4-BE49-F238E27FC236}">
                <a16:creationId xmlns:a16="http://schemas.microsoft.com/office/drawing/2014/main" id="{072E71A9-89BD-4E42-BF63-C10E1A71E3DE}"/>
              </a:ext>
            </a:extLst>
          </p:cNvPr>
          <p:cNvSpPr/>
          <p:nvPr/>
        </p:nvSpPr>
        <p:spPr>
          <a:xfrm>
            <a:off x="587375" y="3104206"/>
            <a:ext cx="3951069" cy="183874"/>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b="1"/>
              <a:t>Two models visualized</a:t>
            </a:r>
          </a:p>
        </p:txBody>
      </p:sp>
      <p:sp>
        <p:nvSpPr>
          <p:cNvPr id="15" name="Rectangle 14">
            <a:extLst>
              <a:ext uri="{FF2B5EF4-FFF2-40B4-BE49-F238E27FC236}">
                <a16:creationId xmlns:a16="http://schemas.microsoft.com/office/drawing/2014/main" id="{443BC76A-D6C0-4F3A-A5C6-A255984C4DF1}"/>
              </a:ext>
            </a:extLst>
          </p:cNvPr>
          <p:cNvSpPr/>
          <p:nvPr/>
        </p:nvSpPr>
        <p:spPr>
          <a:xfrm>
            <a:off x="5825617" y="3109888"/>
            <a:ext cx="5779008" cy="183874"/>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b="1"/>
              <a:t>Coefficients pre and post COVID</a:t>
            </a:r>
          </a:p>
        </p:txBody>
      </p:sp>
      <p:pic>
        <p:nvPicPr>
          <p:cNvPr id="23" name="Picture 22">
            <a:extLst>
              <a:ext uri="{FF2B5EF4-FFF2-40B4-BE49-F238E27FC236}">
                <a16:creationId xmlns:a16="http://schemas.microsoft.com/office/drawing/2014/main" id="{46E34210-9C15-4D8B-A702-C43846D0798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13338" y="3618996"/>
            <a:ext cx="3326984" cy="2044444"/>
          </a:xfrm>
          <a:prstGeom prst="rect">
            <a:avLst/>
          </a:prstGeom>
        </p:spPr>
      </p:pic>
      <p:pic>
        <p:nvPicPr>
          <p:cNvPr id="27" name="Picture 26">
            <a:extLst>
              <a:ext uri="{FF2B5EF4-FFF2-40B4-BE49-F238E27FC236}">
                <a16:creationId xmlns:a16="http://schemas.microsoft.com/office/drawing/2014/main" id="{24FFCCE9-B411-4EBF-BE81-CCB3BDFD5AC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93124" y="3621207"/>
            <a:ext cx="3326984" cy="2044444"/>
          </a:xfrm>
          <a:prstGeom prst="rect">
            <a:avLst/>
          </a:prstGeom>
        </p:spPr>
      </p:pic>
      <p:sp>
        <p:nvSpPr>
          <p:cNvPr id="29" name="TextBox 28">
            <a:extLst>
              <a:ext uri="{FF2B5EF4-FFF2-40B4-BE49-F238E27FC236}">
                <a16:creationId xmlns:a16="http://schemas.microsoft.com/office/drawing/2014/main" id="{DADC2104-F93F-4583-8C27-81B8975CE1F4}"/>
              </a:ext>
            </a:extLst>
          </p:cNvPr>
          <p:cNvSpPr txBox="1"/>
          <p:nvPr/>
        </p:nvSpPr>
        <p:spPr>
          <a:xfrm>
            <a:off x="5322404" y="5854148"/>
            <a:ext cx="6282221" cy="635552"/>
          </a:xfrm>
          <a:prstGeom prst="rect">
            <a:avLst/>
          </a:prstGeom>
          <a:noFill/>
        </p:spPr>
        <p:txBody>
          <a:bodyPr wrap="square" lIns="0" tIns="0" rIns="0" bIns="0" rtlCol="0">
            <a:noAutofit/>
          </a:bodyPr>
          <a:lstStyle/>
          <a:p>
            <a:pPr marL="285750" indent="-285750" algn="l">
              <a:buFont typeface="Wingdings" panose="05000000000000000000" pitchFamily="2" charset="2"/>
              <a:buChar char="§"/>
            </a:pPr>
            <a:r>
              <a:rPr lang="en-US" sz="1400"/>
              <a:t>As assumed the coefficient for implied volatility in the post covid world has a negative sign, indicating a negative effect on volumes </a:t>
            </a:r>
          </a:p>
        </p:txBody>
      </p:sp>
    </p:spTree>
    <p:extLst>
      <p:ext uri="{BB962C8B-B14F-4D97-AF65-F5344CB8AC3E}">
        <p14:creationId xmlns:p14="http://schemas.microsoft.com/office/powerpoint/2010/main" val="10605183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B7B816B-39AC-4D9A-91EA-116705A7C916}"/>
              </a:ext>
            </a:extLst>
          </p:cNvPr>
          <p:cNvSpPr>
            <a:spLocks noGrp="1"/>
          </p:cNvSpPr>
          <p:nvPr>
            <p:ph idx="1"/>
          </p:nvPr>
        </p:nvSpPr>
        <p:spPr>
          <a:xfrm>
            <a:off x="587376" y="1700213"/>
            <a:ext cx="5400674" cy="4429125"/>
          </a:xfrm>
        </p:spPr>
        <p:txBody>
          <a:bodyPr/>
          <a:lstStyle/>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endParaRPr lang="en-US" sz="1400" dirty="0"/>
          </a:p>
        </p:txBody>
      </p:sp>
      <p:sp>
        <p:nvSpPr>
          <p:cNvPr id="5" name="Slide Number Placeholder 4">
            <a:extLst>
              <a:ext uri="{FF2B5EF4-FFF2-40B4-BE49-F238E27FC236}">
                <a16:creationId xmlns:a16="http://schemas.microsoft.com/office/drawing/2014/main" id="{CA0CA3DC-BFF6-4E4D-A999-6C4584846B5B}"/>
              </a:ext>
            </a:extLst>
          </p:cNvPr>
          <p:cNvSpPr>
            <a:spLocks noGrp="1"/>
          </p:cNvSpPr>
          <p:nvPr>
            <p:ph type="sldNum" sz="quarter" idx="11"/>
          </p:nvPr>
        </p:nvSpPr>
        <p:spPr/>
        <p:txBody>
          <a:bodyPr/>
          <a:lstStyle/>
          <a:p>
            <a:fld id="{62CB3E74-FC4B-418A-B5F6-72ED80208EB2}" type="slidenum">
              <a:rPr lang="en-US" noProof="0" smtClean="0"/>
              <a:pPr/>
              <a:t>12</a:t>
            </a:fld>
            <a:endParaRPr lang="en-US" noProof="0"/>
          </a:p>
        </p:txBody>
      </p:sp>
      <p:sp>
        <p:nvSpPr>
          <p:cNvPr id="8" name="Title 1">
            <a:extLst>
              <a:ext uri="{FF2B5EF4-FFF2-40B4-BE49-F238E27FC236}">
                <a16:creationId xmlns:a16="http://schemas.microsoft.com/office/drawing/2014/main" id="{E7A962CA-73E8-4815-9051-7435E7093762}"/>
              </a:ext>
            </a:extLst>
          </p:cNvPr>
          <p:cNvSpPr txBox="1">
            <a:spLocks/>
          </p:cNvSpPr>
          <p:nvPr/>
        </p:nvSpPr>
        <p:spPr bwMode="gray">
          <a:xfrm>
            <a:off x="587376" y="368300"/>
            <a:ext cx="11017250" cy="512970"/>
          </a:xfrm>
          <a:prstGeom prst="rect">
            <a:avLst/>
          </a:prstGeom>
        </p:spPr>
        <p:txBody>
          <a:bodyPr vert="horz" lIns="0" tIns="0" rIns="0" bIns="0" rtlCol="0" anchor="t" anchorCtr="0">
            <a:noAutofit/>
          </a:bodyPr>
          <a:lstStyle>
            <a:lvl1pPr algn="l" defTabSz="914400" rtl="0" eaLnBrk="1" latinLnBrk="0" hangingPunct="1">
              <a:lnSpc>
                <a:spcPct val="110000"/>
              </a:lnSpc>
              <a:spcBef>
                <a:spcPct val="0"/>
              </a:spcBef>
              <a:buNone/>
              <a:defRPr sz="3000" b="1" kern="1200">
                <a:solidFill>
                  <a:schemeClr val="tx1"/>
                </a:solidFill>
                <a:latin typeface="+mj-lt"/>
                <a:ea typeface="+mj-ea"/>
                <a:cs typeface="+mj-cs"/>
              </a:defRPr>
            </a:lvl1pPr>
          </a:lstStyle>
          <a:p>
            <a:r>
              <a:rPr lang="en-US" dirty="0"/>
              <a:t>Open Questions?</a:t>
            </a:r>
            <a:endParaRPr lang="en-US" sz="1800" i="1" dirty="0"/>
          </a:p>
        </p:txBody>
      </p:sp>
      <p:sp>
        <p:nvSpPr>
          <p:cNvPr id="2" name="TextBox 1">
            <a:extLst>
              <a:ext uri="{FF2B5EF4-FFF2-40B4-BE49-F238E27FC236}">
                <a16:creationId xmlns:a16="http://schemas.microsoft.com/office/drawing/2014/main" id="{2B890DAC-6286-43F3-B273-9DFABC98A22D}"/>
              </a:ext>
            </a:extLst>
          </p:cNvPr>
          <p:cNvSpPr txBox="1"/>
          <p:nvPr/>
        </p:nvSpPr>
        <p:spPr>
          <a:xfrm>
            <a:off x="587376" y="1201168"/>
            <a:ext cx="11017248" cy="4977959"/>
          </a:xfrm>
          <a:prstGeom prst="rect">
            <a:avLst/>
          </a:prstGeom>
          <a:noFill/>
        </p:spPr>
        <p:txBody>
          <a:bodyPr wrap="square" lIns="0" tIns="0" rIns="0" bIns="0" rtlCol="0">
            <a:noAutofit/>
          </a:bodyPr>
          <a:lstStyle/>
          <a:p>
            <a:pPr algn="l"/>
            <a:r>
              <a:rPr lang="en-US" sz="1600" dirty="0"/>
              <a:t>Due to the growing gap between implied and realized volatility, the disturbed relationship between them post COVID-19 and the definite effect on volumes we have seen due to exposure to a prolonged period of implied volatility being multiple times higher than realized in any given day, we could expand the research even further.</a:t>
            </a:r>
          </a:p>
          <a:p>
            <a:pPr algn="l"/>
            <a:endParaRPr lang="en-US" sz="1600" dirty="0"/>
          </a:p>
          <a:p>
            <a:pPr marL="342900" indent="-342900" algn="l">
              <a:buFont typeface="+mj-lt"/>
              <a:buAutoNum type="arabicPeriod"/>
            </a:pPr>
            <a:r>
              <a:rPr lang="en-US" sz="1600" dirty="0"/>
              <a:t>Expand the analysis on to other products, especially Options as they are extra sensitive to volatility</a:t>
            </a:r>
          </a:p>
          <a:p>
            <a:pPr marL="342900" indent="-342900" algn="l">
              <a:buFont typeface="+mj-lt"/>
              <a:buAutoNum type="arabicPeriod"/>
            </a:pPr>
            <a:r>
              <a:rPr lang="en-US" sz="1600" dirty="0"/>
              <a:t>Find a way to introduce non-linearity in the models and explore non linear relationships</a:t>
            </a:r>
          </a:p>
          <a:p>
            <a:pPr marL="342900" indent="-342900" algn="l">
              <a:buFont typeface="+mj-lt"/>
              <a:buAutoNum type="arabicPeriod"/>
            </a:pPr>
            <a:r>
              <a:rPr lang="en-US" sz="1600" dirty="0"/>
              <a:t>Refine calculation of variables even further and use the fact that we have at our disposal extremely granular price data down to level of seconds</a:t>
            </a:r>
          </a:p>
          <a:p>
            <a:pPr marL="342900" indent="-342900" algn="l">
              <a:buFont typeface="+mj-lt"/>
              <a:buAutoNum type="arabicPeriod"/>
            </a:pPr>
            <a:r>
              <a:rPr lang="en-US" sz="1600" dirty="0"/>
              <a:t>Account for the impact of pricing measures on volumes</a:t>
            </a:r>
          </a:p>
          <a:p>
            <a:pPr marL="342900" indent="-342900" algn="l">
              <a:buFont typeface="+mj-lt"/>
              <a:buAutoNum type="arabicPeriod"/>
            </a:pPr>
            <a:r>
              <a:rPr lang="en-US" sz="1600" dirty="0"/>
              <a:t>Expand the space of variables considered, and develop a prediction engine for volume based on volatility</a:t>
            </a:r>
          </a:p>
          <a:p>
            <a:pPr marL="342900" indent="-342900" algn="l">
              <a:buFont typeface="+mj-lt"/>
              <a:buAutoNum type="arabicPeriod"/>
            </a:pPr>
            <a:endParaRPr lang="en-US" sz="1600" dirty="0"/>
          </a:p>
          <a:p>
            <a:pPr marL="342900" indent="-342900" algn="l">
              <a:buFont typeface="+mj-lt"/>
              <a:buAutoNum type="arabicPeriod"/>
            </a:pPr>
            <a:endParaRPr lang="en-US" sz="1600" dirty="0"/>
          </a:p>
          <a:p>
            <a:pPr marL="342900" indent="-342900" algn="l">
              <a:buFont typeface="+mj-lt"/>
              <a:buAutoNum type="arabicPeriod"/>
            </a:pPr>
            <a:endParaRPr lang="en-US" sz="1600" dirty="0"/>
          </a:p>
          <a:p>
            <a:pPr algn="l"/>
            <a:endParaRPr lang="en-US" sz="1600" dirty="0"/>
          </a:p>
        </p:txBody>
      </p:sp>
    </p:spTree>
    <p:extLst>
      <p:ext uri="{BB962C8B-B14F-4D97-AF65-F5344CB8AC3E}">
        <p14:creationId xmlns:p14="http://schemas.microsoft.com/office/powerpoint/2010/main" val="17030783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8E138-DDCD-4833-A59A-BAFF11EFA5EA}"/>
              </a:ext>
            </a:extLst>
          </p:cNvPr>
          <p:cNvSpPr>
            <a:spLocks noGrp="1"/>
          </p:cNvSpPr>
          <p:nvPr>
            <p:ph type="title"/>
          </p:nvPr>
        </p:nvSpPr>
        <p:spPr>
          <a:xfrm>
            <a:off x="1566774" y="1923422"/>
            <a:ext cx="5256213" cy="1237222"/>
          </a:xfrm>
        </p:spPr>
        <p:txBody>
          <a:bodyPr/>
          <a:lstStyle/>
          <a:p>
            <a:r>
              <a:rPr lang="en-US" dirty="0"/>
              <a:t>Appendix</a:t>
            </a:r>
          </a:p>
        </p:txBody>
      </p:sp>
      <p:sp>
        <p:nvSpPr>
          <p:cNvPr id="3" name="Text Placeholder 2">
            <a:extLst>
              <a:ext uri="{FF2B5EF4-FFF2-40B4-BE49-F238E27FC236}">
                <a16:creationId xmlns:a16="http://schemas.microsoft.com/office/drawing/2014/main" id="{242BFDF4-2333-42C1-8F61-F771D572CFAA}"/>
              </a:ext>
            </a:extLst>
          </p:cNvPr>
          <p:cNvSpPr>
            <a:spLocks noGrp="1"/>
          </p:cNvSpPr>
          <p:nvPr>
            <p:ph type="body" sz="quarter" idx="10"/>
          </p:nvPr>
        </p:nvSpPr>
        <p:spPr/>
        <p:txBody>
          <a:bodyPr/>
          <a:lstStyle/>
          <a:p>
            <a:r>
              <a:rPr lang="en-US" dirty="0"/>
              <a:t>2</a:t>
            </a:r>
          </a:p>
        </p:txBody>
      </p:sp>
      <p:sp>
        <p:nvSpPr>
          <p:cNvPr id="4" name="Date Placeholder 3">
            <a:extLst>
              <a:ext uri="{FF2B5EF4-FFF2-40B4-BE49-F238E27FC236}">
                <a16:creationId xmlns:a16="http://schemas.microsoft.com/office/drawing/2014/main" id="{AB656507-EB82-4906-8B28-ED50BF7F38D2}"/>
              </a:ext>
            </a:extLst>
          </p:cNvPr>
          <p:cNvSpPr>
            <a:spLocks noGrp="1"/>
          </p:cNvSpPr>
          <p:nvPr>
            <p:ph type="dt" sz="half" idx="11"/>
          </p:nvPr>
        </p:nvSpPr>
        <p:spPr/>
        <p:txBody>
          <a:bodyPr/>
          <a:lstStyle/>
          <a:p>
            <a:fld id="{95320B9D-1E55-417F-BC4E-8B3EF6B241F7}" type="datetime1">
              <a:rPr lang="en-US" smtClean="0"/>
              <a:t>1/16/2022</a:t>
            </a:fld>
            <a:endParaRPr lang="en-US" dirty="0"/>
          </a:p>
        </p:txBody>
      </p:sp>
      <p:sp>
        <p:nvSpPr>
          <p:cNvPr id="5" name="Slide Number Placeholder 4">
            <a:extLst>
              <a:ext uri="{FF2B5EF4-FFF2-40B4-BE49-F238E27FC236}">
                <a16:creationId xmlns:a16="http://schemas.microsoft.com/office/drawing/2014/main" id="{A805DEDF-D463-4A53-B5CB-AEB2CF8D8BB6}"/>
              </a:ext>
            </a:extLst>
          </p:cNvPr>
          <p:cNvSpPr>
            <a:spLocks noGrp="1"/>
          </p:cNvSpPr>
          <p:nvPr>
            <p:ph type="sldNum" sz="quarter" idx="12"/>
          </p:nvPr>
        </p:nvSpPr>
        <p:spPr/>
        <p:txBody>
          <a:bodyPr/>
          <a:lstStyle/>
          <a:p>
            <a:fld id="{62CB3E74-FC4B-418A-B5F6-72ED80208EB2}" type="slidenum">
              <a:rPr lang="en-US" smtClean="0"/>
              <a:pPr/>
              <a:t>13</a:t>
            </a:fld>
            <a:endParaRPr lang="en-US" dirty="0"/>
          </a:p>
        </p:txBody>
      </p:sp>
    </p:spTree>
    <p:extLst>
      <p:ext uri="{BB962C8B-B14F-4D97-AF65-F5344CB8AC3E}">
        <p14:creationId xmlns:p14="http://schemas.microsoft.com/office/powerpoint/2010/main" val="13795680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EA2B0-98BA-45DB-9568-F27292DF4317}"/>
              </a:ext>
            </a:extLst>
          </p:cNvPr>
          <p:cNvSpPr>
            <a:spLocks noGrp="1"/>
          </p:cNvSpPr>
          <p:nvPr>
            <p:ph type="title"/>
          </p:nvPr>
        </p:nvSpPr>
        <p:spPr/>
        <p:txBody>
          <a:bodyPr/>
          <a:lstStyle/>
          <a:p>
            <a:r>
              <a:rPr lang="en-US" dirty="0"/>
              <a:t>Appendix I</a:t>
            </a:r>
            <a:br>
              <a:rPr lang="en-US" dirty="0"/>
            </a:br>
            <a:r>
              <a:rPr lang="en-US" sz="1800" b="0" i="1" dirty="0"/>
              <a:t>More Equity Index Implied / realized volatility pairs</a:t>
            </a:r>
            <a:endParaRPr lang="en-US" sz="1800" i="1" dirty="0"/>
          </a:p>
        </p:txBody>
      </p:sp>
      <p:sp>
        <p:nvSpPr>
          <p:cNvPr id="3" name="Content Placeholder 2">
            <a:extLst>
              <a:ext uri="{FF2B5EF4-FFF2-40B4-BE49-F238E27FC236}">
                <a16:creationId xmlns:a16="http://schemas.microsoft.com/office/drawing/2014/main" id="{DB7B816B-39AC-4D9A-91EA-116705A7C916}"/>
              </a:ext>
            </a:extLst>
          </p:cNvPr>
          <p:cNvSpPr>
            <a:spLocks noGrp="1"/>
          </p:cNvSpPr>
          <p:nvPr>
            <p:ph idx="1"/>
          </p:nvPr>
        </p:nvSpPr>
        <p:spPr>
          <a:xfrm>
            <a:off x="587376" y="1700213"/>
            <a:ext cx="5400674" cy="4429125"/>
          </a:xfrm>
        </p:spPr>
        <p:txBody>
          <a:bodyPr/>
          <a:lstStyle/>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endParaRPr lang="en-US" sz="1400" dirty="0"/>
          </a:p>
        </p:txBody>
      </p:sp>
      <p:sp>
        <p:nvSpPr>
          <p:cNvPr id="5" name="Slide Number Placeholder 4">
            <a:extLst>
              <a:ext uri="{FF2B5EF4-FFF2-40B4-BE49-F238E27FC236}">
                <a16:creationId xmlns:a16="http://schemas.microsoft.com/office/drawing/2014/main" id="{CA0CA3DC-BFF6-4E4D-A999-6C4584846B5B}"/>
              </a:ext>
            </a:extLst>
          </p:cNvPr>
          <p:cNvSpPr>
            <a:spLocks noGrp="1"/>
          </p:cNvSpPr>
          <p:nvPr>
            <p:ph type="sldNum" sz="quarter" idx="11"/>
          </p:nvPr>
        </p:nvSpPr>
        <p:spPr/>
        <p:txBody>
          <a:bodyPr/>
          <a:lstStyle/>
          <a:p>
            <a:fld id="{62CB3E74-FC4B-418A-B5F6-72ED80208EB2}" type="slidenum">
              <a:rPr lang="en-US" noProof="0" smtClean="0"/>
              <a:pPr/>
              <a:t>14</a:t>
            </a:fld>
            <a:endParaRPr lang="en-US" noProof="0"/>
          </a:p>
        </p:txBody>
      </p:sp>
      <p:pic>
        <p:nvPicPr>
          <p:cNvPr id="10" name="Picture 9">
            <a:extLst>
              <a:ext uri="{FF2B5EF4-FFF2-40B4-BE49-F238E27FC236}">
                <a16:creationId xmlns:a16="http://schemas.microsoft.com/office/drawing/2014/main" id="{F46F85BC-3F8E-4466-BA17-03EAEEA24C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3044" y="1406739"/>
            <a:ext cx="5364990" cy="2542032"/>
          </a:xfrm>
          <a:prstGeom prst="rect">
            <a:avLst/>
          </a:prstGeom>
        </p:spPr>
      </p:pic>
      <p:pic>
        <p:nvPicPr>
          <p:cNvPr id="14" name="Picture 13">
            <a:extLst>
              <a:ext uri="{FF2B5EF4-FFF2-40B4-BE49-F238E27FC236}">
                <a16:creationId xmlns:a16="http://schemas.microsoft.com/office/drawing/2014/main" id="{8CD43F6B-714F-40C1-9880-6EC665C5AB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32469" y="1406739"/>
            <a:ext cx="5364990" cy="2542032"/>
          </a:xfrm>
          <a:prstGeom prst="rect">
            <a:avLst/>
          </a:prstGeom>
        </p:spPr>
      </p:pic>
      <p:sp>
        <p:nvSpPr>
          <p:cNvPr id="8" name="Rectangle 7">
            <a:extLst>
              <a:ext uri="{FF2B5EF4-FFF2-40B4-BE49-F238E27FC236}">
                <a16:creationId xmlns:a16="http://schemas.microsoft.com/office/drawing/2014/main" id="{6F9E1E95-0BD6-4C55-B885-3E3E8EC97668}"/>
              </a:ext>
            </a:extLst>
          </p:cNvPr>
          <p:cNvSpPr/>
          <p:nvPr/>
        </p:nvSpPr>
        <p:spPr>
          <a:xfrm>
            <a:off x="1224684" y="1230445"/>
            <a:ext cx="3951069" cy="183874"/>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b="1" dirty="0"/>
              <a:t>CAC40</a:t>
            </a:r>
          </a:p>
        </p:txBody>
      </p:sp>
      <p:sp>
        <p:nvSpPr>
          <p:cNvPr id="9" name="Rectangle 8">
            <a:extLst>
              <a:ext uri="{FF2B5EF4-FFF2-40B4-BE49-F238E27FC236}">
                <a16:creationId xmlns:a16="http://schemas.microsoft.com/office/drawing/2014/main" id="{F834D1BF-FC43-4EE0-808E-D61BB15709EB}"/>
              </a:ext>
            </a:extLst>
          </p:cNvPr>
          <p:cNvSpPr/>
          <p:nvPr/>
        </p:nvSpPr>
        <p:spPr>
          <a:xfrm>
            <a:off x="6935527" y="1230445"/>
            <a:ext cx="3951069" cy="183874"/>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b="1" dirty="0"/>
              <a:t>Nasdaq</a:t>
            </a:r>
          </a:p>
        </p:txBody>
      </p:sp>
      <p:pic>
        <p:nvPicPr>
          <p:cNvPr id="6" name="Picture 5">
            <a:extLst>
              <a:ext uri="{FF2B5EF4-FFF2-40B4-BE49-F238E27FC236}">
                <a16:creationId xmlns:a16="http://schemas.microsoft.com/office/drawing/2014/main" id="{03DDB28D-EA67-4E35-ACAC-FD30B10A38C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2957" y="4040708"/>
            <a:ext cx="5400674" cy="2558939"/>
          </a:xfrm>
          <a:prstGeom prst="rect">
            <a:avLst/>
          </a:prstGeom>
        </p:spPr>
      </p:pic>
      <p:sp>
        <p:nvSpPr>
          <p:cNvPr id="13" name="Rectangle 12">
            <a:extLst>
              <a:ext uri="{FF2B5EF4-FFF2-40B4-BE49-F238E27FC236}">
                <a16:creationId xmlns:a16="http://schemas.microsoft.com/office/drawing/2014/main" id="{DD4CFBF3-9900-45AE-A80C-C4A4E345A9FA}"/>
              </a:ext>
            </a:extLst>
          </p:cNvPr>
          <p:cNvSpPr/>
          <p:nvPr/>
        </p:nvSpPr>
        <p:spPr>
          <a:xfrm>
            <a:off x="1355926" y="3902299"/>
            <a:ext cx="3863574" cy="168774"/>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b="1" dirty="0"/>
              <a:t>AEX</a:t>
            </a:r>
          </a:p>
        </p:txBody>
      </p:sp>
    </p:spTree>
    <p:extLst>
      <p:ext uri="{BB962C8B-B14F-4D97-AF65-F5344CB8AC3E}">
        <p14:creationId xmlns:p14="http://schemas.microsoft.com/office/powerpoint/2010/main" val="2677528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EA2B0-98BA-45DB-9568-F27292DF4317}"/>
              </a:ext>
            </a:extLst>
          </p:cNvPr>
          <p:cNvSpPr>
            <a:spLocks noGrp="1"/>
          </p:cNvSpPr>
          <p:nvPr>
            <p:ph type="title"/>
          </p:nvPr>
        </p:nvSpPr>
        <p:spPr/>
        <p:txBody>
          <a:bodyPr/>
          <a:lstStyle/>
          <a:p>
            <a:r>
              <a:rPr lang="en-US" dirty="0"/>
              <a:t>Appendix II</a:t>
            </a:r>
            <a:br>
              <a:rPr lang="en-US" dirty="0"/>
            </a:br>
            <a:r>
              <a:rPr lang="en-US" sz="1800" b="0" i="1" dirty="0"/>
              <a:t>Impulse Response Functions </a:t>
            </a:r>
            <a:endParaRPr lang="en-US" sz="1800" i="1" dirty="0"/>
          </a:p>
        </p:txBody>
      </p:sp>
      <p:sp>
        <p:nvSpPr>
          <p:cNvPr id="3" name="Content Placeholder 2">
            <a:extLst>
              <a:ext uri="{FF2B5EF4-FFF2-40B4-BE49-F238E27FC236}">
                <a16:creationId xmlns:a16="http://schemas.microsoft.com/office/drawing/2014/main" id="{DB7B816B-39AC-4D9A-91EA-116705A7C916}"/>
              </a:ext>
            </a:extLst>
          </p:cNvPr>
          <p:cNvSpPr>
            <a:spLocks noGrp="1"/>
          </p:cNvSpPr>
          <p:nvPr>
            <p:ph idx="1"/>
          </p:nvPr>
        </p:nvSpPr>
        <p:spPr>
          <a:xfrm>
            <a:off x="587376" y="1700213"/>
            <a:ext cx="5400674" cy="4429125"/>
          </a:xfrm>
        </p:spPr>
        <p:txBody>
          <a:bodyPr/>
          <a:lstStyle/>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endParaRPr lang="en-US" sz="1400" dirty="0"/>
          </a:p>
        </p:txBody>
      </p:sp>
      <p:sp>
        <p:nvSpPr>
          <p:cNvPr id="5" name="Slide Number Placeholder 4">
            <a:extLst>
              <a:ext uri="{FF2B5EF4-FFF2-40B4-BE49-F238E27FC236}">
                <a16:creationId xmlns:a16="http://schemas.microsoft.com/office/drawing/2014/main" id="{CA0CA3DC-BFF6-4E4D-A999-6C4584846B5B}"/>
              </a:ext>
            </a:extLst>
          </p:cNvPr>
          <p:cNvSpPr>
            <a:spLocks noGrp="1"/>
          </p:cNvSpPr>
          <p:nvPr>
            <p:ph type="sldNum" sz="quarter" idx="11"/>
          </p:nvPr>
        </p:nvSpPr>
        <p:spPr/>
        <p:txBody>
          <a:bodyPr/>
          <a:lstStyle/>
          <a:p>
            <a:fld id="{62CB3E74-FC4B-418A-B5F6-72ED80208EB2}" type="slidenum">
              <a:rPr lang="en-US" noProof="0" smtClean="0"/>
              <a:pPr/>
              <a:t>15</a:t>
            </a:fld>
            <a:endParaRPr lang="en-US" noProof="0"/>
          </a:p>
        </p:txBody>
      </p:sp>
      <p:pic>
        <p:nvPicPr>
          <p:cNvPr id="6" name="Picture 5">
            <a:extLst>
              <a:ext uri="{FF2B5EF4-FFF2-40B4-BE49-F238E27FC236}">
                <a16:creationId xmlns:a16="http://schemas.microsoft.com/office/drawing/2014/main" id="{55DE3D59-072A-4A40-B09E-7CE10D7CAD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19697" y="1198209"/>
            <a:ext cx="3701857" cy="3474720"/>
          </a:xfrm>
          <a:prstGeom prst="rect">
            <a:avLst/>
          </a:prstGeom>
        </p:spPr>
      </p:pic>
      <p:pic>
        <p:nvPicPr>
          <p:cNvPr id="8" name="Picture 7">
            <a:extLst>
              <a:ext uri="{FF2B5EF4-FFF2-40B4-BE49-F238E27FC236}">
                <a16:creationId xmlns:a16="http://schemas.microsoft.com/office/drawing/2014/main" id="{C4397FAB-F0FD-4FBE-B287-5500553A18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507" y="1198209"/>
            <a:ext cx="3677694" cy="3474720"/>
          </a:xfrm>
          <a:prstGeom prst="rect">
            <a:avLst/>
          </a:prstGeom>
        </p:spPr>
      </p:pic>
      <p:pic>
        <p:nvPicPr>
          <p:cNvPr id="11" name="Picture 10">
            <a:extLst>
              <a:ext uri="{FF2B5EF4-FFF2-40B4-BE49-F238E27FC236}">
                <a16:creationId xmlns:a16="http://schemas.microsoft.com/office/drawing/2014/main" id="{57EEF153-0D24-4BF0-8EEB-58C745D4CB6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25521" y="1198209"/>
            <a:ext cx="3701857" cy="3474720"/>
          </a:xfrm>
          <a:prstGeom prst="rect">
            <a:avLst/>
          </a:prstGeom>
        </p:spPr>
      </p:pic>
    </p:spTree>
    <p:extLst>
      <p:ext uri="{BB962C8B-B14F-4D97-AF65-F5344CB8AC3E}">
        <p14:creationId xmlns:p14="http://schemas.microsoft.com/office/powerpoint/2010/main" val="5604767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EA2B0-98BA-45DB-9568-F27292DF4317}"/>
              </a:ext>
            </a:extLst>
          </p:cNvPr>
          <p:cNvSpPr>
            <a:spLocks noGrp="1"/>
          </p:cNvSpPr>
          <p:nvPr>
            <p:ph type="title"/>
          </p:nvPr>
        </p:nvSpPr>
        <p:spPr/>
        <p:txBody>
          <a:bodyPr/>
          <a:lstStyle/>
          <a:p>
            <a:r>
              <a:rPr lang="en-US" dirty="0"/>
              <a:t>Appendix III</a:t>
            </a:r>
            <a:br>
              <a:rPr lang="en-US" dirty="0"/>
            </a:br>
            <a:r>
              <a:rPr lang="en-US" sz="1800" b="0" i="1" dirty="0"/>
              <a:t>References </a:t>
            </a:r>
            <a:endParaRPr lang="en-US" sz="1800" i="1" dirty="0"/>
          </a:p>
        </p:txBody>
      </p:sp>
      <p:sp>
        <p:nvSpPr>
          <p:cNvPr id="3" name="Content Placeholder 2">
            <a:extLst>
              <a:ext uri="{FF2B5EF4-FFF2-40B4-BE49-F238E27FC236}">
                <a16:creationId xmlns:a16="http://schemas.microsoft.com/office/drawing/2014/main" id="{DB7B816B-39AC-4D9A-91EA-116705A7C916}"/>
              </a:ext>
            </a:extLst>
          </p:cNvPr>
          <p:cNvSpPr>
            <a:spLocks noGrp="1"/>
          </p:cNvSpPr>
          <p:nvPr>
            <p:ph idx="1"/>
          </p:nvPr>
        </p:nvSpPr>
        <p:spPr>
          <a:xfrm>
            <a:off x="587376" y="1700213"/>
            <a:ext cx="5400674" cy="4429125"/>
          </a:xfrm>
        </p:spPr>
        <p:txBody>
          <a:bodyPr/>
          <a:lstStyle/>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endParaRPr lang="en-US" sz="1400" dirty="0"/>
          </a:p>
        </p:txBody>
      </p:sp>
      <p:sp>
        <p:nvSpPr>
          <p:cNvPr id="5" name="Slide Number Placeholder 4">
            <a:extLst>
              <a:ext uri="{FF2B5EF4-FFF2-40B4-BE49-F238E27FC236}">
                <a16:creationId xmlns:a16="http://schemas.microsoft.com/office/drawing/2014/main" id="{CA0CA3DC-BFF6-4E4D-A999-6C4584846B5B}"/>
              </a:ext>
            </a:extLst>
          </p:cNvPr>
          <p:cNvSpPr>
            <a:spLocks noGrp="1"/>
          </p:cNvSpPr>
          <p:nvPr>
            <p:ph type="sldNum" sz="quarter" idx="11"/>
          </p:nvPr>
        </p:nvSpPr>
        <p:spPr/>
        <p:txBody>
          <a:bodyPr/>
          <a:lstStyle/>
          <a:p>
            <a:fld id="{62CB3E74-FC4B-418A-B5F6-72ED80208EB2}" type="slidenum">
              <a:rPr lang="en-US" noProof="0" smtClean="0"/>
              <a:pPr/>
              <a:t>16</a:t>
            </a:fld>
            <a:endParaRPr lang="en-US" noProof="0"/>
          </a:p>
        </p:txBody>
      </p:sp>
      <p:sp>
        <p:nvSpPr>
          <p:cNvPr id="4" name="TextBox 3">
            <a:extLst>
              <a:ext uri="{FF2B5EF4-FFF2-40B4-BE49-F238E27FC236}">
                <a16:creationId xmlns:a16="http://schemas.microsoft.com/office/drawing/2014/main" id="{31938C49-DFFF-4140-94FD-D84F5FFE0EAD}"/>
              </a:ext>
            </a:extLst>
          </p:cNvPr>
          <p:cNvSpPr txBox="1"/>
          <p:nvPr/>
        </p:nvSpPr>
        <p:spPr>
          <a:xfrm>
            <a:off x="587376" y="3429000"/>
            <a:ext cx="11017249" cy="2546774"/>
          </a:xfrm>
          <a:prstGeom prst="rect">
            <a:avLst/>
          </a:prstGeom>
          <a:noFill/>
        </p:spPr>
        <p:txBody>
          <a:bodyPr wrap="square" lIns="0" tIns="0" rIns="0" bIns="0" rtlCol="0">
            <a:noAutofit/>
          </a:bodyPr>
          <a:lstStyle/>
          <a:p>
            <a:pPr marL="285750" indent="-285750" algn="l">
              <a:buFont typeface="Wingdings" panose="05000000000000000000" pitchFamily="2" charset="2"/>
              <a:buChar char="§"/>
            </a:pPr>
            <a:r>
              <a:rPr lang="en-US" dirty="0">
                <a:hlinkClick r:id="rId2"/>
              </a:rPr>
              <a:t>Web_Volume_Comparison_CME.pdf (cmegroup.com)</a:t>
            </a:r>
            <a:endParaRPr lang="en-US" dirty="0">
              <a:hlinkClick r:id="rId3"/>
            </a:endParaRPr>
          </a:p>
          <a:p>
            <a:pPr marL="285750" indent="-285750" algn="l">
              <a:buFont typeface="Wingdings" panose="05000000000000000000" pitchFamily="2" charset="2"/>
              <a:buChar char="§"/>
            </a:pPr>
            <a:r>
              <a:rPr lang="en-US" dirty="0">
                <a:hlinkClick r:id="rId3"/>
              </a:rPr>
              <a:t>The Week that Was: September 6 to September 10 (cboe.com)</a:t>
            </a:r>
            <a:endParaRPr lang="en-US" dirty="0"/>
          </a:p>
          <a:p>
            <a:pPr marL="285750" indent="-285750" algn="l">
              <a:buFont typeface="Wingdings" panose="05000000000000000000" pitchFamily="2" charset="2"/>
              <a:buChar char="§"/>
            </a:pPr>
            <a:r>
              <a:rPr lang="en-US" dirty="0" err="1">
                <a:hlinkClick r:id="rId4"/>
              </a:rPr>
              <a:t>Cboe</a:t>
            </a:r>
            <a:r>
              <a:rPr lang="en-US" dirty="0">
                <a:hlinkClick r:id="rId4"/>
              </a:rPr>
              <a:t> Announces Launch of New </a:t>
            </a:r>
            <a:r>
              <a:rPr lang="en-US" dirty="0" err="1">
                <a:hlinkClick r:id="rId4"/>
              </a:rPr>
              <a:t>Cboe</a:t>
            </a:r>
            <a:r>
              <a:rPr lang="en-US" dirty="0">
                <a:hlinkClick r:id="rId4"/>
              </a:rPr>
              <a:t> 3-Month Implied Correlation Index | CBOE</a:t>
            </a:r>
            <a:endParaRPr lang="en-US" dirty="0"/>
          </a:p>
          <a:p>
            <a:pPr marL="285750" indent="-285750" algn="l">
              <a:buFont typeface="Wingdings" panose="05000000000000000000" pitchFamily="2" charset="2"/>
              <a:buChar char="§"/>
            </a:pPr>
            <a:r>
              <a:rPr lang="en-US" dirty="0">
                <a:hlinkClick r:id="rId5"/>
              </a:rPr>
              <a:t>Exploring the Benefits of Small-Cap Stocks and MRUT Options (cboe.com)</a:t>
            </a:r>
            <a:endParaRPr lang="en-US" dirty="0"/>
          </a:p>
          <a:p>
            <a:pPr marL="285750" indent="-285750" algn="l">
              <a:buFont typeface="Wingdings" panose="05000000000000000000" pitchFamily="2" charset="2"/>
              <a:buChar char="§"/>
            </a:pPr>
            <a:r>
              <a:rPr lang="en-US" dirty="0">
                <a:hlinkClick r:id="rId6"/>
              </a:rPr>
              <a:t>Inside Volatility Trading: Professional Sports, Global Equity Markets and Volatility (cboe.com)</a:t>
            </a:r>
            <a:endParaRPr lang="en-US" dirty="0"/>
          </a:p>
          <a:p>
            <a:pPr marL="285750" indent="-285750" algn="l">
              <a:buFont typeface="Wingdings" panose="05000000000000000000" pitchFamily="2" charset="2"/>
              <a:buChar char="§"/>
            </a:pPr>
            <a:r>
              <a:rPr lang="en-US" dirty="0">
                <a:hlinkClick r:id="rId7"/>
              </a:rPr>
              <a:t>VIX Options Trader Reaps Win in 19 Hours as Stocks Resume Swoon – Bloomberg</a:t>
            </a:r>
            <a:endParaRPr lang="en-US" dirty="0"/>
          </a:p>
          <a:p>
            <a:pPr marL="285750" indent="-285750" algn="l">
              <a:buFont typeface="Wingdings" panose="05000000000000000000" pitchFamily="2" charset="2"/>
              <a:buChar char="§"/>
            </a:pPr>
            <a:r>
              <a:rPr lang="en-US" dirty="0">
                <a:hlinkClick r:id="rId8"/>
              </a:rPr>
              <a:t>Options Craze Is Rewriting Rules of VIX, S&amp;P 500 Relationship – Bloomberg</a:t>
            </a:r>
            <a:endParaRPr lang="en-US" dirty="0"/>
          </a:p>
          <a:p>
            <a:pPr marL="285750" indent="-285750" algn="l">
              <a:buFont typeface="Wingdings" panose="05000000000000000000" pitchFamily="2" charset="2"/>
              <a:buChar char="§"/>
            </a:pPr>
            <a:r>
              <a:rPr lang="en-US" dirty="0">
                <a:hlinkClick r:id="rId7"/>
              </a:rPr>
              <a:t>VIX Options Trader Reaps Win in 19 Hours as Stocks Resume Swoon – Bloomberg</a:t>
            </a:r>
            <a:endParaRPr lang="en-US" dirty="0"/>
          </a:p>
          <a:p>
            <a:pPr marL="285750" indent="-285750" algn="l">
              <a:buFont typeface="Wingdings" panose="05000000000000000000" pitchFamily="2" charset="2"/>
              <a:buChar char="§"/>
            </a:pPr>
            <a:r>
              <a:rPr lang="en-US" dirty="0">
                <a:hlinkClick r:id="rId9"/>
              </a:rPr>
              <a:t>How to Handle S&amp;P 500 Swinging Most in a Year as VIX Soars – Bloomberg</a:t>
            </a:r>
            <a:endParaRPr lang="en-US" dirty="0"/>
          </a:p>
          <a:p>
            <a:pPr marL="285750" indent="-285750" algn="l">
              <a:buFont typeface="Wingdings" panose="05000000000000000000" pitchFamily="2" charset="2"/>
              <a:buChar char="§"/>
            </a:pPr>
            <a:endParaRPr lang="en-US" dirty="0"/>
          </a:p>
          <a:p>
            <a:pPr marL="285750" indent="-285750" algn="l">
              <a:buFont typeface="Wingdings" panose="05000000000000000000" pitchFamily="2" charset="2"/>
              <a:buChar char="§"/>
            </a:pPr>
            <a:endParaRPr lang="en-US" dirty="0"/>
          </a:p>
          <a:p>
            <a:pPr marL="285750" indent="-285750" algn="l">
              <a:buFont typeface="Wingdings" panose="05000000000000000000" pitchFamily="2" charset="2"/>
              <a:buChar char="§"/>
            </a:pPr>
            <a:endParaRPr lang="en-US" dirty="0"/>
          </a:p>
        </p:txBody>
      </p:sp>
      <p:sp>
        <p:nvSpPr>
          <p:cNvPr id="6" name="TextBox 5">
            <a:extLst>
              <a:ext uri="{FF2B5EF4-FFF2-40B4-BE49-F238E27FC236}">
                <a16:creationId xmlns:a16="http://schemas.microsoft.com/office/drawing/2014/main" id="{986D6E61-FC68-451A-87C3-DCDE7ED1C02F}"/>
              </a:ext>
            </a:extLst>
          </p:cNvPr>
          <p:cNvSpPr txBox="1"/>
          <p:nvPr/>
        </p:nvSpPr>
        <p:spPr>
          <a:xfrm>
            <a:off x="587375" y="1484313"/>
            <a:ext cx="11017249" cy="1490707"/>
          </a:xfrm>
          <a:prstGeom prst="rect">
            <a:avLst/>
          </a:prstGeom>
          <a:noFill/>
        </p:spPr>
        <p:txBody>
          <a:bodyPr wrap="square" lIns="0" tIns="0" rIns="0" bIns="0" rtlCol="0">
            <a:noAutofit/>
          </a:bodyPr>
          <a:lstStyle/>
          <a:p>
            <a:pPr marL="285750" indent="-285750" algn="l">
              <a:buFont typeface="Wingdings" panose="05000000000000000000" pitchFamily="2" charset="2"/>
              <a:buChar char="§"/>
            </a:pPr>
            <a:r>
              <a:rPr lang="de-DE" dirty="0"/>
              <a:t>Luu, James C. , Martin P. , 2002 </a:t>
            </a:r>
            <a:r>
              <a:rPr lang="de-DE" i="1" dirty="0"/>
              <a:t>„</a:t>
            </a:r>
            <a:r>
              <a:rPr lang="de-DE" i="1" dirty="0" err="1"/>
              <a:t>Testing</a:t>
            </a:r>
            <a:r>
              <a:rPr lang="de-DE" i="1" dirty="0"/>
              <a:t> </a:t>
            </a:r>
            <a:r>
              <a:rPr lang="de-DE" i="1" dirty="0" err="1"/>
              <a:t>the</a:t>
            </a:r>
            <a:r>
              <a:rPr lang="de-DE" i="1" dirty="0"/>
              <a:t> </a:t>
            </a:r>
            <a:r>
              <a:rPr lang="de-DE" i="1" dirty="0" err="1"/>
              <a:t>Mixture</a:t>
            </a:r>
            <a:r>
              <a:rPr lang="de-DE" i="1" dirty="0"/>
              <a:t> </a:t>
            </a:r>
            <a:r>
              <a:rPr lang="de-DE" i="1" dirty="0" err="1"/>
              <a:t>of</a:t>
            </a:r>
            <a:r>
              <a:rPr lang="de-DE" i="1" dirty="0"/>
              <a:t> </a:t>
            </a:r>
            <a:r>
              <a:rPr lang="de-DE" i="1" dirty="0" err="1"/>
              <a:t>distributions</a:t>
            </a:r>
            <a:r>
              <a:rPr lang="de-DE" i="1" dirty="0"/>
              <a:t> </a:t>
            </a:r>
            <a:r>
              <a:rPr lang="de-DE" i="1" dirty="0" err="1"/>
              <a:t>hypothesis</a:t>
            </a:r>
            <a:r>
              <a:rPr lang="de-DE" i="1" dirty="0"/>
              <a:t> </a:t>
            </a:r>
            <a:r>
              <a:rPr lang="de-DE" i="1" dirty="0" err="1"/>
              <a:t>using</a:t>
            </a:r>
            <a:r>
              <a:rPr lang="de-DE" i="1" dirty="0"/>
              <a:t> „</a:t>
            </a:r>
            <a:r>
              <a:rPr lang="de-DE" i="1" dirty="0" err="1"/>
              <a:t>realized</a:t>
            </a:r>
            <a:r>
              <a:rPr lang="de-DE" i="1" dirty="0"/>
              <a:t>“ </a:t>
            </a:r>
            <a:r>
              <a:rPr lang="de-DE" i="1" dirty="0" err="1"/>
              <a:t>volatility</a:t>
            </a:r>
            <a:r>
              <a:rPr lang="de-DE" i="1" dirty="0"/>
              <a:t>“ </a:t>
            </a:r>
          </a:p>
          <a:p>
            <a:pPr marL="285750" indent="-285750" algn="l">
              <a:buFont typeface="Wingdings" panose="05000000000000000000" pitchFamily="2" charset="2"/>
              <a:buChar char="§"/>
            </a:pPr>
            <a:r>
              <a:rPr lang="de-DE" dirty="0" err="1"/>
              <a:t>Lütkepohl</a:t>
            </a:r>
            <a:r>
              <a:rPr lang="de-DE" dirty="0"/>
              <a:t> H., 2005, Springer, </a:t>
            </a:r>
            <a:r>
              <a:rPr lang="de-DE" i="1" dirty="0"/>
              <a:t>„New </a:t>
            </a:r>
            <a:r>
              <a:rPr lang="de-DE" i="1" dirty="0" err="1"/>
              <a:t>Introduction</a:t>
            </a:r>
            <a:r>
              <a:rPr lang="de-DE" i="1" dirty="0"/>
              <a:t> </a:t>
            </a:r>
            <a:r>
              <a:rPr lang="de-DE" i="1" dirty="0" err="1"/>
              <a:t>to</a:t>
            </a:r>
            <a:r>
              <a:rPr lang="de-DE" i="1" dirty="0"/>
              <a:t> Time Series Analysis“</a:t>
            </a:r>
          </a:p>
          <a:p>
            <a:pPr marL="285750" indent="-285750" algn="l">
              <a:buFont typeface="Wingdings" panose="05000000000000000000" pitchFamily="2" charset="2"/>
              <a:buChar char="§"/>
            </a:pPr>
            <a:r>
              <a:rPr lang="de-DE" dirty="0" err="1"/>
              <a:t>Bessembinder</a:t>
            </a:r>
            <a:r>
              <a:rPr lang="de-DE" dirty="0"/>
              <a:t> H., Seguin J.,1999, </a:t>
            </a:r>
            <a:r>
              <a:rPr lang="de-DE" i="1" dirty="0"/>
              <a:t>„Price </a:t>
            </a:r>
            <a:r>
              <a:rPr lang="de-DE" i="1" dirty="0" err="1"/>
              <a:t>Volatility</a:t>
            </a:r>
            <a:r>
              <a:rPr lang="de-DE" i="1" dirty="0"/>
              <a:t>, Trading </a:t>
            </a:r>
            <a:r>
              <a:rPr lang="de-DE" i="1" dirty="0" err="1"/>
              <a:t>Volumes</a:t>
            </a:r>
            <a:r>
              <a:rPr lang="de-DE" i="1" dirty="0"/>
              <a:t> and Market Depth“</a:t>
            </a:r>
          </a:p>
          <a:p>
            <a:pPr marL="285750" indent="-285750" algn="l">
              <a:buFont typeface="Wingdings" panose="05000000000000000000" pitchFamily="2" charset="2"/>
              <a:buChar char="§"/>
            </a:pPr>
            <a:r>
              <a:rPr lang="de-DE" dirty="0"/>
              <a:t>Chow G.,1960, </a:t>
            </a:r>
            <a:r>
              <a:rPr lang="de-DE" dirty="0" err="1"/>
              <a:t>Econometrica</a:t>
            </a:r>
            <a:r>
              <a:rPr lang="de-DE" dirty="0"/>
              <a:t>, </a:t>
            </a:r>
            <a:r>
              <a:rPr lang="de-DE" i="1" dirty="0"/>
              <a:t>„Tests </a:t>
            </a:r>
            <a:r>
              <a:rPr lang="de-DE" i="1" dirty="0" err="1"/>
              <a:t>of</a:t>
            </a:r>
            <a:r>
              <a:rPr lang="de-DE" i="1" dirty="0"/>
              <a:t> </a:t>
            </a:r>
            <a:r>
              <a:rPr lang="de-DE" i="1" dirty="0" err="1"/>
              <a:t>Equality</a:t>
            </a:r>
            <a:r>
              <a:rPr lang="de-DE" i="1" dirty="0"/>
              <a:t> </a:t>
            </a:r>
            <a:r>
              <a:rPr lang="de-DE" i="1" dirty="0" err="1"/>
              <a:t>between</a:t>
            </a:r>
            <a:r>
              <a:rPr lang="de-DE" i="1" dirty="0"/>
              <a:t> </a:t>
            </a:r>
            <a:r>
              <a:rPr lang="de-DE" i="1" dirty="0" err="1"/>
              <a:t>coefficients</a:t>
            </a:r>
            <a:r>
              <a:rPr lang="de-DE" i="1" dirty="0"/>
              <a:t> in </a:t>
            </a:r>
            <a:r>
              <a:rPr lang="de-DE" i="1" dirty="0" err="1"/>
              <a:t>two</a:t>
            </a:r>
            <a:r>
              <a:rPr lang="de-DE" i="1" dirty="0"/>
              <a:t> linear </a:t>
            </a:r>
            <a:r>
              <a:rPr lang="de-DE" i="1" dirty="0" err="1"/>
              <a:t>regressions</a:t>
            </a:r>
            <a:r>
              <a:rPr lang="de-DE" i="1" dirty="0"/>
              <a:t>“</a:t>
            </a:r>
            <a:endParaRPr lang="en-US" dirty="0"/>
          </a:p>
        </p:txBody>
      </p:sp>
    </p:spTree>
    <p:extLst>
      <p:ext uri="{BB962C8B-B14F-4D97-AF65-F5344CB8AC3E}">
        <p14:creationId xmlns:p14="http://schemas.microsoft.com/office/powerpoint/2010/main" val="5160665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65B2277C-B268-4C93-876D-E02CF17564AA}"/>
              </a:ext>
            </a:extLst>
          </p:cNvPr>
          <p:cNvSpPr>
            <a:spLocks noGrp="1"/>
          </p:cNvSpPr>
          <p:nvPr>
            <p:ph type="title"/>
          </p:nvPr>
        </p:nvSpPr>
        <p:spPr>
          <a:xfrm>
            <a:off x="580103" y="381000"/>
            <a:ext cx="8382000" cy="567069"/>
          </a:xfrm>
        </p:spPr>
        <p:txBody>
          <a:bodyPr/>
          <a:lstStyle/>
          <a:p>
            <a:r>
              <a:rPr lang="en-US" dirty="0"/>
              <a:t>Summary of Development</a:t>
            </a:r>
            <a:endParaRPr lang="en-GB" dirty="0">
              <a:solidFill>
                <a:srgbClr val="FF0000"/>
              </a:solidFill>
            </a:endParaRPr>
          </a:p>
        </p:txBody>
      </p:sp>
      <p:sp>
        <p:nvSpPr>
          <p:cNvPr id="6" name="Rectangle 54">
            <a:extLst>
              <a:ext uri="{FF2B5EF4-FFF2-40B4-BE49-F238E27FC236}">
                <a16:creationId xmlns:a16="http://schemas.microsoft.com/office/drawing/2014/main" id="{094740B7-604C-45EF-9F71-F5B936596E8A}"/>
              </a:ext>
            </a:extLst>
          </p:cNvPr>
          <p:cNvSpPr/>
          <p:nvPr/>
        </p:nvSpPr>
        <p:spPr bwMode="auto">
          <a:xfrm>
            <a:off x="580103" y="1295400"/>
            <a:ext cx="1520840" cy="1094014"/>
          </a:xfrm>
          <a:prstGeom prst="rect">
            <a:avLst/>
          </a:prstGeom>
          <a:solidFill>
            <a:schemeClr val="accent1"/>
          </a:solidFill>
          <a:ln>
            <a:noFill/>
          </a:ln>
          <a:effectLst/>
        </p:spPr>
        <p:txBody>
          <a:bodyPr lIns="72000" tIns="36000" rIns="72000" bIns="36000" anchor="ctr"/>
          <a:lstStyle/>
          <a:p>
            <a:pPr algn="ctr"/>
            <a:r>
              <a:rPr lang="en-US" b="1" dirty="0">
                <a:solidFill>
                  <a:schemeClr val="bg1"/>
                </a:solidFill>
              </a:rPr>
              <a:t>Background</a:t>
            </a:r>
          </a:p>
        </p:txBody>
      </p:sp>
      <p:sp>
        <p:nvSpPr>
          <p:cNvPr id="7" name="Rectangle 54">
            <a:extLst>
              <a:ext uri="{FF2B5EF4-FFF2-40B4-BE49-F238E27FC236}">
                <a16:creationId xmlns:a16="http://schemas.microsoft.com/office/drawing/2014/main" id="{705D9D02-7C7A-4D8C-B754-63A5B383E943}"/>
              </a:ext>
            </a:extLst>
          </p:cNvPr>
          <p:cNvSpPr/>
          <p:nvPr/>
        </p:nvSpPr>
        <p:spPr bwMode="auto">
          <a:xfrm>
            <a:off x="587375" y="2513588"/>
            <a:ext cx="1520840" cy="3615750"/>
          </a:xfrm>
          <a:prstGeom prst="rect">
            <a:avLst/>
          </a:prstGeom>
          <a:solidFill>
            <a:schemeClr val="accent1"/>
          </a:solidFill>
          <a:ln>
            <a:noFill/>
          </a:ln>
          <a:effectLst/>
        </p:spPr>
        <p:txBody>
          <a:bodyPr lIns="72000" tIns="36000" rIns="72000" bIns="36000" anchor="ctr"/>
          <a:lstStyle/>
          <a:p>
            <a:pPr algn="ctr"/>
            <a:r>
              <a:rPr lang="en-US" b="1" dirty="0">
                <a:solidFill>
                  <a:schemeClr val="bg1"/>
                </a:solidFill>
              </a:rPr>
              <a:t>Current Approach</a:t>
            </a:r>
          </a:p>
        </p:txBody>
      </p:sp>
      <p:sp>
        <p:nvSpPr>
          <p:cNvPr id="4" name="TextBox 3">
            <a:extLst>
              <a:ext uri="{FF2B5EF4-FFF2-40B4-BE49-F238E27FC236}">
                <a16:creationId xmlns:a16="http://schemas.microsoft.com/office/drawing/2014/main" id="{6700710F-0706-42D7-8459-9431D8EF9DEF}"/>
              </a:ext>
            </a:extLst>
          </p:cNvPr>
          <p:cNvSpPr txBox="1"/>
          <p:nvPr/>
        </p:nvSpPr>
        <p:spPr>
          <a:xfrm>
            <a:off x="2286000" y="1327265"/>
            <a:ext cx="9318625" cy="1094014"/>
          </a:xfrm>
          <a:prstGeom prst="rect">
            <a:avLst/>
          </a:prstGeom>
          <a:noFill/>
          <a:ln>
            <a:noFill/>
          </a:ln>
        </p:spPr>
        <p:txBody>
          <a:bodyPr wrap="square" lIns="0" tIns="0" rIns="0" bIns="0" rtlCol="0">
            <a:noAutofit/>
          </a:bodyPr>
          <a:lstStyle/>
          <a:p>
            <a:pPr marL="285750" indent="-285750" algn="l">
              <a:buFont typeface="Wingdings" panose="05000000000000000000" pitchFamily="2" charset="2"/>
              <a:buChar char="§"/>
            </a:pPr>
            <a:r>
              <a:rPr lang="en-US" sz="1400" dirty="0"/>
              <a:t>Motivation: observed, prolonged and growing gap between implied and realized volatility on the equity index market and dropping volumes in futures on said markets ( e.g. FESX, FDAX)</a:t>
            </a:r>
          </a:p>
          <a:p>
            <a:pPr marL="285750" indent="-285750" algn="l">
              <a:buFont typeface="Wingdings" panose="05000000000000000000" pitchFamily="2" charset="2"/>
              <a:buChar char="§"/>
            </a:pPr>
            <a:r>
              <a:rPr lang="en-US" sz="1400" dirty="0"/>
              <a:t>Initial ad-hoc results discovered that the difference between the two volatilities is an important factor in explaining volumes but raised additional questions that this project attempts to answer</a:t>
            </a:r>
          </a:p>
        </p:txBody>
      </p:sp>
      <p:sp>
        <p:nvSpPr>
          <p:cNvPr id="11" name="TextBox 10">
            <a:extLst>
              <a:ext uri="{FF2B5EF4-FFF2-40B4-BE49-F238E27FC236}">
                <a16:creationId xmlns:a16="http://schemas.microsoft.com/office/drawing/2014/main" id="{795A6965-B463-4918-83F3-6A0E7F9FC159}"/>
              </a:ext>
            </a:extLst>
          </p:cNvPr>
          <p:cNvSpPr txBox="1"/>
          <p:nvPr/>
        </p:nvSpPr>
        <p:spPr>
          <a:xfrm>
            <a:off x="2242457" y="2513588"/>
            <a:ext cx="9318625" cy="3615750"/>
          </a:xfrm>
          <a:prstGeom prst="rect">
            <a:avLst/>
          </a:prstGeom>
          <a:noFill/>
        </p:spPr>
        <p:txBody>
          <a:bodyPr wrap="square" lIns="0" tIns="0" rIns="0" bIns="0" rtlCol="0">
            <a:noAutofit/>
          </a:bodyPr>
          <a:lstStyle/>
          <a:p>
            <a:pPr marL="285750" indent="-285750" algn="l">
              <a:buFont typeface="Wingdings" panose="05000000000000000000" pitchFamily="2" charset="2"/>
              <a:buChar char="§"/>
            </a:pPr>
            <a:r>
              <a:rPr lang="en-US" sz="1400" dirty="0"/>
              <a:t>The period taken for study is 02.01.2017 – 12.10.2021 on the FESX market</a:t>
            </a:r>
          </a:p>
          <a:p>
            <a:pPr marL="285750" indent="-285750" algn="l">
              <a:buFont typeface="Wingdings" panose="05000000000000000000" pitchFamily="2" charset="2"/>
              <a:buChar char="§"/>
            </a:pPr>
            <a:endParaRPr lang="en-US" sz="1400" dirty="0"/>
          </a:p>
          <a:p>
            <a:pPr marL="285750" indent="-285750" algn="l">
              <a:buFont typeface="Wingdings" panose="05000000000000000000" pitchFamily="2" charset="2"/>
              <a:buChar char="§"/>
            </a:pPr>
            <a:r>
              <a:rPr lang="en-US" sz="1400" dirty="0"/>
              <a:t>More extensive calculation were made to better represent Realized Volatility, Implied Volatility and Volume</a:t>
            </a:r>
          </a:p>
          <a:p>
            <a:pPr marL="742950" lvl="1" indent="-285750">
              <a:buFont typeface="Wingdings" panose="05000000000000000000" pitchFamily="2" charset="2"/>
              <a:buChar char="§"/>
            </a:pPr>
            <a:r>
              <a:rPr lang="en-US" sz="1400" dirty="0"/>
              <a:t>Realized Volatility during one day reconstructed from overnight and intraday components</a:t>
            </a:r>
          </a:p>
          <a:p>
            <a:pPr marL="1200150" lvl="2" indent="-285750">
              <a:buFont typeface="Wingdings" panose="05000000000000000000" pitchFamily="2" charset="2"/>
              <a:buChar char="§"/>
            </a:pPr>
            <a:r>
              <a:rPr lang="en-US" sz="1400" dirty="0"/>
              <a:t>Overnight Volatility is the volatility between close at day </a:t>
            </a:r>
            <a:r>
              <a:rPr lang="en-US" sz="1400" dirty="0">
                <a:latin typeface="Arial" panose="020B0604020202020204" pitchFamily="34" charset="0"/>
                <a:cs typeface="Arial" panose="020B0604020202020204" pitchFamily="34" charset="0"/>
              </a:rPr>
              <a:t>t-1 and open on day t</a:t>
            </a:r>
          </a:p>
          <a:p>
            <a:pPr marL="1200150" lvl="2" indent="-285750">
              <a:buFont typeface="Wingdings" panose="05000000000000000000" pitchFamily="2" charset="2"/>
              <a:buChar char="§"/>
            </a:pPr>
            <a:r>
              <a:rPr lang="en-US" sz="1400" dirty="0">
                <a:latin typeface="Arial" panose="020B0604020202020204" pitchFamily="34" charset="0"/>
                <a:cs typeface="Arial" panose="020B0604020202020204" pitchFamily="34" charset="0"/>
              </a:rPr>
              <a:t>Intraday Volatility is the volatility throughout the trading day based on intraday returns</a:t>
            </a:r>
          </a:p>
          <a:p>
            <a:pPr marL="1200150" lvl="2" indent="-285750">
              <a:buFont typeface="Wingdings" panose="05000000000000000000" pitchFamily="2" charset="2"/>
              <a:buChar char="§"/>
            </a:pPr>
            <a:r>
              <a:rPr lang="en-US" sz="1400" dirty="0">
                <a:latin typeface="Arial" panose="020B0604020202020204" pitchFamily="34" charset="0"/>
                <a:cs typeface="Arial" panose="020B0604020202020204" pitchFamily="34" charset="0"/>
              </a:rPr>
              <a:t>30day Historic Volatility was taken as a benchmark</a:t>
            </a:r>
          </a:p>
          <a:p>
            <a:pPr marL="742950" lvl="1" indent="-285750">
              <a:buFont typeface="Wingdings" panose="05000000000000000000" pitchFamily="2" charset="2"/>
              <a:buChar char="§"/>
            </a:pPr>
            <a:r>
              <a:rPr lang="en-US" sz="1400" dirty="0">
                <a:latin typeface="Arial" panose="020B0604020202020204" pitchFamily="34" charset="0"/>
                <a:cs typeface="Arial" panose="020B0604020202020204" pitchFamily="34" charset="0"/>
              </a:rPr>
              <a:t>Implied Volatility was proxied using VSTOXX and the Black-Scholes formula</a:t>
            </a:r>
          </a:p>
          <a:p>
            <a:pPr marL="742950" lvl="1" indent="-285750">
              <a:buFont typeface="Wingdings" panose="05000000000000000000" pitchFamily="2" charset="2"/>
              <a:buChar char="§"/>
            </a:pPr>
            <a:r>
              <a:rPr lang="en-US" sz="1400" dirty="0">
                <a:latin typeface="Arial" panose="020B0604020202020204" pitchFamily="34" charset="0"/>
                <a:cs typeface="Arial" panose="020B0604020202020204" pitchFamily="34" charset="0"/>
              </a:rPr>
              <a:t>Volume was represented as </a:t>
            </a:r>
            <a:r>
              <a:rPr lang="en-US" sz="1400" dirty="0" err="1">
                <a:latin typeface="Arial" panose="020B0604020202020204" pitchFamily="34" charset="0"/>
                <a:cs typeface="Arial" panose="020B0604020202020204" pitchFamily="34" charset="0"/>
              </a:rPr>
              <a:t>deseasoned</a:t>
            </a:r>
            <a:r>
              <a:rPr lang="en-US" sz="1400" dirty="0">
                <a:latin typeface="Arial" panose="020B0604020202020204" pitchFamily="34" charset="0"/>
                <a:cs typeface="Arial" panose="020B0604020202020204" pitchFamily="34" charset="0"/>
              </a:rPr>
              <a:t> front month Traded Contracts as well as Traded Contracts over Open Interest</a:t>
            </a:r>
          </a:p>
          <a:p>
            <a:pPr marL="742950" lvl="1" indent="-285750">
              <a:buFont typeface="Wingdings" panose="05000000000000000000" pitchFamily="2" charset="2"/>
              <a:buChar char="§"/>
            </a:pPr>
            <a:endParaRPr lang="en-US" sz="14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sz="1400" dirty="0">
                <a:latin typeface="Arial" panose="020B0604020202020204" pitchFamily="34" charset="0"/>
                <a:cs typeface="Arial" panose="020B0604020202020204" pitchFamily="34" charset="0"/>
              </a:rPr>
              <a:t>In order to capture as much information as possible in a multivariate model, a Vector Auto Regression (VAR) was fit to the data</a:t>
            </a:r>
          </a:p>
          <a:p>
            <a:pPr marL="285750" indent="-285750">
              <a:buFont typeface="Wingdings" panose="05000000000000000000" pitchFamily="2" charset="2"/>
              <a:buChar char="§"/>
            </a:pPr>
            <a:r>
              <a:rPr lang="en-US" sz="1400" dirty="0">
                <a:latin typeface="Arial" panose="020B0604020202020204" pitchFamily="34" charset="0"/>
                <a:cs typeface="Arial" panose="020B0604020202020204" pitchFamily="34" charset="0"/>
              </a:rPr>
              <a:t>Impulse Response functions were derived from the model to understand how shocks in realized and implied volatility as well as their difference will affect Volume</a:t>
            </a:r>
          </a:p>
          <a:p>
            <a:pPr marL="285750" indent="-285750">
              <a:buFont typeface="Wingdings" panose="05000000000000000000" pitchFamily="2" charset="2"/>
              <a:buChar char="§"/>
            </a:pPr>
            <a:r>
              <a:rPr lang="en-US" sz="1400" dirty="0">
                <a:latin typeface="Arial" panose="020B0604020202020204" pitchFamily="34" charset="0"/>
                <a:cs typeface="Arial" panose="020B0604020202020204" pitchFamily="34" charset="0"/>
              </a:rPr>
              <a:t>Tests were conducted for presence of structural breaks in the time series around the time of the pandemic</a:t>
            </a:r>
          </a:p>
          <a:p>
            <a:pPr marL="742950" lvl="1" indent="-285750">
              <a:buFont typeface="Wingdings" panose="05000000000000000000" pitchFamily="2" charset="2"/>
              <a:buChar char="§"/>
            </a:pPr>
            <a:endParaRPr lang="en-US" sz="14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en-US" sz="1400" dirty="0">
              <a:latin typeface="Arial" panose="020B0604020202020204" pitchFamily="34" charset="0"/>
              <a:cs typeface="Arial" panose="020B0604020202020204" pitchFamily="34" charset="0"/>
            </a:endParaRPr>
          </a:p>
          <a:p>
            <a:pPr marL="742950" lvl="1" indent="-285750">
              <a:buFont typeface="Wingdings" panose="05000000000000000000" pitchFamily="2" charset="2"/>
              <a:buChar char="§"/>
            </a:pPr>
            <a:endParaRPr lang="en-US" sz="14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en-US" sz="1400" dirty="0"/>
          </a:p>
        </p:txBody>
      </p:sp>
    </p:spTree>
    <p:extLst>
      <p:ext uri="{BB962C8B-B14F-4D97-AF65-F5344CB8AC3E}">
        <p14:creationId xmlns:p14="http://schemas.microsoft.com/office/powerpoint/2010/main" val="53239107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233F7-362C-43D5-B30E-7E95D45EEF05}"/>
              </a:ext>
            </a:extLst>
          </p:cNvPr>
          <p:cNvSpPr>
            <a:spLocks noGrp="1"/>
          </p:cNvSpPr>
          <p:nvPr>
            <p:ph type="title"/>
          </p:nvPr>
        </p:nvSpPr>
        <p:spPr>
          <a:xfrm>
            <a:off x="587376" y="368300"/>
            <a:ext cx="11017250" cy="648432"/>
          </a:xfrm>
        </p:spPr>
        <p:txBody>
          <a:bodyPr/>
          <a:lstStyle/>
          <a:p>
            <a:r>
              <a:rPr lang="en-US"/>
              <a:t>Three Project Questions</a:t>
            </a:r>
            <a:endParaRPr lang="en-US" baseline="30000"/>
          </a:p>
        </p:txBody>
      </p:sp>
      <p:sp>
        <p:nvSpPr>
          <p:cNvPr id="4" name="Date Placeholder 3">
            <a:extLst>
              <a:ext uri="{FF2B5EF4-FFF2-40B4-BE49-F238E27FC236}">
                <a16:creationId xmlns:a16="http://schemas.microsoft.com/office/drawing/2014/main" id="{7A3A92EF-B3D3-480C-A62F-C34185EED521}"/>
              </a:ext>
            </a:extLst>
          </p:cNvPr>
          <p:cNvSpPr>
            <a:spLocks noGrp="1"/>
          </p:cNvSpPr>
          <p:nvPr>
            <p:ph type="dt" sz="half" idx="10"/>
          </p:nvPr>
        </p:nvSpPr>
        <p:spPr/>
        <p:txBody>
          <a:bodyPr/>
          <a:lstStyle/>
          <a:p>
            <a:fld id="{664E4E50-649A-4382-919E-7BEF182EEEDC}" type="datetime1">
              <a:rPr lang="en-US" smtClean="0"/>
              <a:t>1/16/2022</a:t>
            </a:fld>
            <a:endParaRPr lang="en-US" dirty="0"/>
          </a:p>
        </p:txBody>
      </p:sp>
      <p:sp>
        <p:nvSpPr>
          <p:cNvPr id="5" name="Slide Number Placeholder 4">
            <a:extLst>
              <a:ext uri="{FF2B5EF4-FFF2-40B4-BE49-F238E27FC236}">
                <a16:creationId xmlns:a16="http://schemas.microsoft.com/office/drawing/2014/main" id="{F5C4D6D1-8968-439C-A660-72603CED922C}"/>
              </a:ext>
            </a:extLst>
          </p:cNvPr>
          <p:cNvSpPr>
            <a:spLocks noGrp="1"/>
          </p:cNvSpPr>
          <p:nvPr>
            <p:ph type="sldNum" sz="quarter" idx="11"/>
          </p:nvPr>
        </p:nvSpPr>
        <p:spPr/>
        <p:txBody>
          <a:bodyPr/>
          <a:lstStyle/>
          <a:p>
            <a:fld id="{62CB3E74-FC4B-418A-B5F6-72ED80208EB2}" type="slidenum">
              <a:rPr lang="en-US" smtClean="0"/>
              <a:pPr/>
              <a:t>3</a:t>
            </a:fld>
            <a:endParaRPr lang="en-US" dirty="0"/>
          </a:p>
        </p:txBody>
      </p:sp>
      <p:sp>
        <p:nvSpPr>
          <p:cNvPr id="32" name="Textbox">
            <a:extLst>
              <a:ext uri="{FF2B5EF4-FFF2-40B4-BE49-F238E27FC236}">
                <a16:creationId xmlns:a16="http://schemas.microsoft.com/office/drawing/2014/main" id="{F2340BCE-4CB1-4635-A8D2-1E7217F656EC}"/>
              </a:ext>
            </a:extLst>
          </p:cNvPr>
          <p:cNvSpPr txBox="1">
            <a:spLocks/>
          </p:cNvSpPr>
          <p:nvPr>
            <p:custDataLst>
              <p:tags r:id="rId1"/>
            </p:custDataLst>
          </p:nvPr>
        </p:nvSpPr>
        <p:spPr bwMode="gray">
          <a:xfrm>
            <a:off x="587376" y="1412837"/>
            <a:ext cx="11017249" cy="1776677"/>
          </a:xfrm>
          <a:prstGeom prst="rect">
            <a:avLst/>
          </a:prstGeom>
          <a:noFill/>
        </p:spPr>
        <p:txBody>
          <a:bodyPr vert="horz" lIns="0" tIns="0" rIns="0" bIns="0" rtlCol="0" anchor="t" anchorCtr="0">
            <a:noAutofit/>
          </a:bodyPr>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0" marR="0" lvl="0" indent="0" algn="l" defTabSz="914400" eaLnBrk="1" fontAlgn="auto" latinLnBrk="0" hangingPunct="1">
              <a:lnSpc>
                <a:spcPct val="110000"/>
              </a:lnSpc>
              <a:spcBef>
                <a:spcPts val="0"/>
              </a:spcBef>
              <a:spcAft>
                <a:spcPts val="0"/>
              </a:spcAft>
              <a:buNone/>
              <a:tabLst/>
              <a:defRPr/>
            </a:pPr>
            <a:r>
              <a:rPr lang="en-US" sz="1400" b="1" dirty="0">
                <a:solidFill>
                  <a:srgbClr val="201751"/>
                </a:solidFill>
                <a:latin typeface="Arial"/>
              </a:rPr>
              <a:t>I) How relevant is the difference between implied and realized volatility and how to express it, with or without lag?</a:t>
            </a:r>
            <a:endParaRPr kumimoji="0" lang="en-US" sz="1400" b="1" i="0" u="none" strike="noStrike" kern="1200" cap="none" spc="0" normalizeH="0" baseline="0" dirty="0">
              <a:ln>
                <a:noFill/>
              </a:ln>
              <a:solidFill>
                <a:srgbClr val="201751"/>
              </a:solidFill>
              <a:effectLst/>
              <a:uLnTx/>
              <a:uFillTx/>
              <a:latin typeface="Arial"/>
              <a:ea typeface="+mn-ea"/>
              <a:cs typeface="+mn-cs"/>
            </a:endParaRPr>
          </a:p>
          <a:p>
            <a:pPr marL="285750" indent="-285750">
              <a:defRPr/>
            </a:pPr>
            <a:r>
              <a:rPr kumimoji="0" lang="en-US" sz="1400" b="0" i="0" u="none" strike="noStrike" kern="1200" cap="none" spc="0" normalizeH="0" baseline="0" dirty="0">
                <a:ln>
                  <a:noFill/>
                </a:ln>
                <a:solidFill>
                  <a:srgbClr val="201751"/>
                </a:solidFill>
                <a:effectLst/>
                <a:uLnTx/>
                <a:uFillTx/>
                <a:latin typeface="Arial"/>
                <a:ea typeface="+mn-ea"/>
                <a:cs typeface="+mn-cs"/>
              </a:rPr>
              <a:t>The difference between implied and realized volatility is an important factor in explaining volumes</a:t>
            </a:r>
          </a:p>
          <a:p>
            <a:pPr marL="285750" indent="-285750">
              <a:defRPr/>
            </a:pPr>
            <a:r>
              <a:rPr lang="en-US" sz="1400" dirty="0">
                <a:solidFill>
                  <a:srgbClr val="201751"/>
                </a:solidFill>
                <a:latin typeface="Arial"/>
              </a:rPr>
              <a:t>The initial effect of an increase in this spread has positive effects on FESX volumes, however prolonged periods of implied volatility higher than realized volatility have ultimately negative effects</a:t>
            </a:r>
          </a:p>
          <a:p>
            <a:pPr marL="285750" indent="-285750">
              <a:defRPr/>
            </a:pPr>
            <a:r>
              <a:rPr lang="en-US" sz="1400" dirty="0">
                <a:solidFill>
                  <a:srgbClr val="201751"/>
                </a:solidFill>
                <a:latin typeface="Arial"/>
              </a:rPr>
              <a:t>In 2021 199 trading days saw implied volatility higher than realized on the ESX50 market, since the start of covid around 9.5% trading days had realized volatility above implied volatility</a:t>
            </a:r>
          </a:p>
          <a:p>
            <a:pPr marL="285750" indent="-285750">
              <a:defRPr/>
            </a:pPr>
            <a:r>
              <a:rPr lang="en-US" sz="1400" dirty="0">
                <a:solidFill>
                  <a:srgbClr val="201751"/>
                </a:solidFill>
                <a:latin typeface="Arial"/>
              </a:rPr>
              <a:t>Lagging implied volatility to account for its forward-looking nature makes the results more evident but it is not a crucial factor and whether lagging was applied or not the model results were robust</a:t>
            </a:r>
            <a:endParaRPr lang="en-US" sz="1200" dirty="0">
              <a:solidFill>
                <a:srgbClr val="201751"/>
              </a:solidFill>
              <a:latin typeface="Arial"/>
            </a:endParaRPr>
          </a:p>
          <a:p>
            <a:pPr marL="285750" indent="-285750">
              <a:defRPr/>
            </a:pPr>
            <a:endParaRPr kumimoji="0" lang="en-US" sz="1400" b="0" i="0" u="none" strike="noStrike" kern="1200" cap="none" spc="0" normalizeH="0" baseline="0" dirty="0">
              <a:ln>
                <a:noFill/>
              </a:ln>
              <a:solidFill>
                <a:srgbClr val="201751"/>
              </a:solidFill>
              <a:effectLst/>
              <a:uLnTx/>
              <a:uFillTx/>
              <a:latin typeface="Arial"/>
              <a:ea typeface="+mn-ea"/>
              <a:cs typeface="+mn-cs"/>
            </a:endParaRPr>
          </a:p>
        </p:txBody>
      </p:sp>
      <p:sp>
        <p:nvSpPr>
          <p:cNvPr id="34" name="Textbox">
            <a:extLst>
              <a:ext uri="{FF2B5EF4-FFF2-40B4-BE49-F238E27FC236}">
                <a16:creationId xmlns:a16="http://schemas.microsoft.com/office/drawing/2014/main" id="{CD213A4D-C70B-4FC6-A560-F7FF501E8AD1}"/>
              </a:ext>
            </a:extLst>
          </p:cNvPr>
          <p:cNvSpPr txBox="1">
            <a:spLocks/>
          </p:cNvSpPr>
          <p:nvPr>
            <p:custDataLst>
              <p:tags r:id="rId2"/>
            </p:custDataLst>
          </p:nvPr>
        </p:nvSpPr>
        <p:spPr bwMode="gray">
          <a:xfrm>
            <a:off x="587375" y="3317925"/>
            <a:ext cx="11017249" cy="1075171"/>
          </a:xfrm>
          <a:prstGeom prst="rect">
            <a:avLst/>
          </a:prstGeom>
          <a:noFill/>
        </p:spPr>
        <p:txBody>
          <a:bodyPr vert="horz" lIns="0" tIns="0" rIns="0" bIns="0" rtlCol="0" anchor="t" anchorCtr="0">
            <a:noAutofit/>
          </a:bodyPr>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0" marR="0" lvl="0" indent="0" algn="l" defTabSz="914400" eaLnBrk="1" fontAlgn="auto" latinLnBrk="0" hangingPunct="1">
              <a:lnSpc>
                <a:spcPct val="110000"/>
              </a:lnSpc>
              <a:spcBef>
                <a:spcPts val="0"/>
              </a:spcBef>
              <a:spcAft>
                <a:spcPts val="0"/>
              </a:spcAft>
              <a:buNone/>
              <a:tabLst/>
              <a:defRPr/>
            </a:pPr>
            <a:r>
              <a:rPr lang="en-US" sz="1400" b="1">
                <a:solidFill>
                  <a:srgbClr val="201751"/>
                </a:solidFill>
                <a:latin typeface="Arial"/>
              </a:rPr>
              <a:t>II) Does the effect of volatility on volume hold or does it change over market phases?</a:t>
            </a:r>
            <a:endParaRPr kumimoji="0" lang="en-US" sz="1400" b="1" i="0" u="none" strike="noStrike" kern="1200" cap="none" spc="0" normalizeH="0" baseline="0">
              <a:ln>
                <a:noFill/>
              </a:ln>
              <a:solidFill>
                <a:srgbClr val="201751"/>
              </a:solidFill>
              <a:effectLst/>
              <a:uLnTx/>
              <a:uFillTx/>
              <a:latin typeface="Arial"/>
              <a:ea typeface="+mn-ea"/>
              <a:cs typeface="+mn-cs"/>
            </a:endParaRPr>
          </a:p>
          <a:p>
            <a:pPr marL="285750" indent="-285750">
              <a:defRPr/>
            </a:pPr>
            <a:r>
              <a:rPr lang="en-US" sz="1400">
                <a:solidFill>
                  <a:srgbClr val="201751"/>
                </a:solidFill>
                <a:latin typeface="Arial"/>
              </a:rPr>
              <a:t>On a 95% confidence level we can confirm the presence of structural breaks in the time series before and after 11.03.2020, the day a global pandemic was announced</a:t>
            </a:r>
          </a:p>
          <a:p>
            <a:pPr marL="285750" indent="-285750">
              <a:defRPr/>
            </a:pPr>
            <a:r>
              <a:rPr kumimoji="0" lang="en-US" sz="1400" b="0" i="0" u="none" strike="noStrike" kern="1200" cap="none" spc="0" normalizeH="0" baseline="0">
                <a:ln>
                  <a:noFill/>
                </a:ln>
                <a:solidFill>
                  <a:srgbClr val="201751"/>
                </a:solidFill>
                <a:effectLst/>
                <a:uLnTx/>
                <a:uFillTx/>
                <a:latin typeface="Arial"/>
                <a:ea typeface="+mn-ea"/>
                <a:cs typeface="+mn-cs"/>
              </a:rPr>
              <a:t>The presence of structural breaks is robust to calculations o</a:t>
            </a:r>
            <a:r>
              <a:rPr lang="en-US" sz="1400">
                <a:solidFill>
                  <a:srgbClr val="201751"/>
                </a:solidFill>
                <a:latin typeface="Arial"/>
              </a:rPr>
              <a:t>f all variables involved in the model</a:t>
            </a:r>
          </a:p>
          <a:p>
            <a:pPr marL="285750" indent="-285750">
              <a:defRPr/>
            </a:pPr>
            <a:r>
              <a:rPr lang="en-US" sz="1400">
                <a:solidFill>
                  <a:srgbClr val="201751"/>
                </a:solidFill>
                <a:latin typeface="Arial"/>
              </a:rPr>
              <a:t>Implied volatility has an inverse relationship with volumes post covid, compared to the positive relationship pre covid</a:t>
            </a:r>
          </a:p>
          <a:p>
            <a:pPr marL="285750" indent="-285750">
              <a:defRPr/>
            </a:pPr>
            <a:endParaRPr kumimoji="0" lang="en-US" sz="1400" b="0" i="0" u="none" strike="noStrike" kern="1200" cap="none" spc="0" normalizeH="0" baseline="0">
              <a:ln>
                <a:noFill/>
              </a:ln>
              <a:solidFill>
                <a:srgbClr val="201751"/>
              </a:solidFill>
              <a:effectLst/>
              <a:uLnTx/>
              <a:uFillTx/>
              <a:latin typeface="Arial"/>
              <a:ea typeface="+mn-ea"/>
              <a:cs typeface="+mn-cs"/>
            </a:endParaRPr>
          </a:p>
        </p:txBody>
      </p:sp>
      <mc:AlternateContent xmlns:mc="http://schemas.openxmlformats.org/markup-compatibility/2006">
        <mc:Choice xmlns:a14="http://schemas.microsoft.com/office/drawing/2010/main" Requires="a14">
          <p:sp>
            <p:nvSpPr>
              <p:cNvPr id="35" name="Textbox">
                <a:extLst>
                  <a:ext uri="{FF2B5EF4-FFF2-40B4-BE49-F238E27FC236}">
                    <a16:creationId xmlns:a16="http://schemas.microsoft.com/office/drawing/2014/main" id="{24462F27-534F-405C-B2A7-1F28D76D2476}"/>
                  </a:ext>
                </a:extLst>
              </p:cNvPr>
              <p:cNvSpPr txBox="1">
                <a:spLocks/>
              </p:cNvSpPr>
              <p:nvPr>
                <p:custDataLst>
                  <p:tags r:id="rId3"/>
                </p:custDataLst>
              </p:nvPr>
            </p:nvSpPr>
            <p:spPr bwMode="gray">
              <a:xfrm>
                <a:off x="587375" y="4642452"/>
                <a:ext cx="11017250" cy="1713898"/>
              </a:xfrm>
              <a:prstGeom prst="rect">
                <a:avLst/>
              </a:prstGeom>
              <a:noFill/>
            </p:spPr>
            <p:txBody>
              <a:bodyPr vert="horz" lIns="0" tIns="0" rIns="0" bIns="0" rtlCol="0" anchor="t" anchorCtr="0">
                <a:noAutofit/>
              </a:bodyPr>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0" marR="0" lvl="0" indent="0" algn="l" defTabSz="914400" eaLnBrk="1" fontAlgn="auto" latinLnBrk="0" hangingPunct="1">
                  <a:lnSpc>
                    <a:spcPct val="110000"/>
                  </a:lnSpc>
                  <a:spcBef>
                    <a:spcPts val="0"/>
                  </a:spcBef>
                  <a:spcAft>
                    <a:spcPts val="0"/>
                  </a:spcAft>
                  <a:buNone/>
                  <a:tabLst/>
                  <a:defRPr/>
                </a:pPr>
                <a:r>
                  <a:rPr lang="en-US" sz="1400" b="1" dirty="0">
                    <a:solidFill>
                      <a:srgbClr val="201751"/>
                    </a:solidFill>
                    <a:latin typeface="Arial"/>
                  </a:rPr>
                  <a:t>III) Quantitatively, how much does each type of volatility or their relationship influence volumes?</a:t>
                </a:r>
                <a:endParaRPr kumimoji="0" lang="en-US" sz="1400" b="1" i="0" u="none" strike="noStrike" kern="1200" cap="none" spc="0" normalizeH="0" baseline="0" dirty="0">
                  <a:ln>
                    <a:noFill/>
                  </a:ln>
                  <a:solidFill>
                    <a:srgbClr val="201751"/>
                  </a:solidFill>
                  <a:effectLst/>
                  <a:uLnTx/>
                  <a:uFillTx/>
                  <a:latin typeface="Arial"/>
                  <a:ea typeface="+mn-ea"/>
                  <a:cs typeface="+mn-cs"/>
                </a:endParaRPr>
              </a:p>
              <a:p>
                <a:pPr marL="285750" indent="-285750">
                  <a:defRPr/>
                </a:pPr>
                <a:r>
                  <a:rPr kumimoji="0" lang="en-US" sz="1400" b="0" i="0" u="none" strike="noStrike" kern="1200" cap="none" spc="0" normalizeH="0" baseline="0" dirty="0">
                    <a:ln>
                      <a:noFill/>
                    </a:ln>
                    <a:solidFill>
                      <a:srgbClr val="201751"/>
                    </a:solidFill>
                    <a:effectLst/>
                    <a:uLnTx/>
                    <a:uFillTx/>
                    <a:latin typeface="Arial"/>
                    <a:ea typeface="+mn-ea"/>
                    <a:cs typeface="+mn-cs"/>
                  </a:rPr>
                  <a:t>We can illustrate the quantitative effects as a matrix of coefficients each showing how much volume would change in traded contracts with a 1</a:t>
                </a:r>
                <a:r>
                  <a:rPr kumimoji="0" lang="en-US" sz="1400" b="0" i="0" u="none" strike="noStrike" kern="1200" cap="none" spc="0" normalizeH="0" baseline="0" dirty="0">
                    <a:ln>
                      <a:noFill/>
                    </a:ln>
                    <a:solidFill>
                      <a:srgbClr val="FF0000"/>
                    </a:solidFill>
                    <a:effectLst/>
                    <a:uLnTx/>
                    <a:uFillTx/>
                    <a:latin typeface="Arial"/>
                    <a:ea typeface="+mn-ea"/>
                    <a:cs typeface="+mn-cs"/>
                  </a:rPr>
                  <a:t> </a:t>
                </a:r>
                <a:r>
                  <a:rPr kumimoji="0" lang="en-US" sz="1400" b="0" i="0" u="none" strike="noStrike" kern="1200" cap="none" spc="0" normalizeH="0" baseline="0" dirty="0">
                    <a:ln>
                      <a:noFill/>
                    </a:ln>
                    <a:effectLst/>
                    <a:uLnTx/>
                    <a:uFillTx/>
                    <a:latin typeface="Arial"/>
                    <a:ea typeface="+mn-ea"/>
                    <a:cs typeface="+mn-cs"/>
                  </a:rPr>
                  <a:t>percentage point </a:t>
                </a:r>
                <a:r>
                  <a:rPr kumimoji="0" lang="en-US" sz="1400" b="0" i="0" u="none" strike="noStrike" kern="1200" cap="none" spc="0" normalizeH="0" baseline="0" dirty="0">
                    <a:ln>
                      <a:noFill/>
                    </a:ln>
                    <a:solidFill>
                      <a:srgbClr val="201751"/>
                    </a:solidFill>
                    <a:effectLst/>
                    <a:uLnTx/>
                    <a:uFillTx/>
                    <a:latin typeface="Arial"/>
                    <a:ea typeface="+mn-ea"/>
                    <a:cs typeface="+mn-cs"/>
                  </a:rPr>
                  <a:t>increase in each type of volatility</a:t>
                </a:r>
              </a:p>
              <a:p>
                <a:pPr marL="285750" indent="-285750">
                  <a:defRPr/>
                </a:pPr>
                <a:r>
                  <a:rPr kumimoji="0" lang="en-US" sz="1400" b="0" i="0" u="none" strike="noStrike" kern="1200" cap="none" spc="0" normalizeH="0" baseline="0" dirty="0">
                    <a:ln>
                      <a:noFill/>
                    </a:ln>
                    <a:solidFill>
                      <a:srgbClr val="201751"/>
                    </a:solidFill>
                    <a:effectLst/>
                    <a:uLnTx/>
                    <a:uFillTx/>
                    <a:latin typeface="Arial"/>
                    <a:ea typeface="+mn-ea"/>
                    <a:cs typeface="+mn-cs"/>
                  </a:rPr>
                  <a:t>Equation form of a VAR(2) model</a:t>
                </a:r>
                <a:br>
                  <a:rPr kumimoji="0" lang="en-US" sz="1400" b="0" i="0" u="none" strike="noStrike" kern="1200" cap="none" spc="0" normalizeH="0" baseline="0" dirty="0">
                    <a:ln>
                      <a:noFill/>
                    </a:ln>
                    <a:solidFill>
                      <a:srgbClr val="201751"/>
                    </a:solidFill>
                    <a:effectLst/>
                    <a:uLnTx/>
                    <a:uFillTx/>
                    <a:latin typeface="Arial"/>
                    <a:ea typeface="+mn-ea"/>
                    <a:cs typeface="+mn-cs"/>
                  </a:rPr>
                </a:br>
                <a:endParaRPr kumimoji="0" lang="en-US" sz="1400" b="0" i="0" u="none" strike="noStrike" kern="1200" cap="none" spc="0" normalizeH="0" baseline="0" dirty="0">
                  <a:ln>
                    <a:noFill/>
                  </a:ln>
                  <a:solidFill>
                    <a:srgbClr val="201751"/>
                  </a:solidFill>
                  <a:effectLst/>
                  <a:uLnTx/>
                  <a:uFillTx/>
                  <a:latin typeface="Arial"/>
                  <a:ea typeface="+mn-ea"/>
                  <a:cs typeface="+mn-cs"/>
                </a:endParaRPr>
              </a:p>
              <a:p>
                <a:pPr>
                  <a:buNone/>
                  <a:defRPr/>
                </a:pPr>
                <a14:m>
                  <m:oMathPara xmlns:m="http://schemas.openxmlformats.org/officeDocument/2006/math">
                    <m:oMathParaPr>
                      <m:jc m:val="centerGroup"/>
                    </m:oMathParaPr>
                    <m:oMath xmlns:m="http://schemas.openxmlformats.org/officeDocument/2006/math">
                      <m:sSub>
                        <m:sSubPr>
                          <m:ctrlPr>
                            <a:rPr lang="en-US" sz="1400" b="0" i="1" smtClean="0">
                              <a:solidFill>
                                <a:srgbClr val="201751"/>
                              </a:solidFill>
                              <a:latin typeface="Cambria Math" panose="02040503050406030204" pitchFamily="18" charset="0"/>
                            </a:rPr>
                          </m:ctrlPr>
                        </m:sSubPr>
                        <m:e>
                          <m:r>
                            <a:rPr lang="en-US" sz="1400" b="0" i="1" smtClean="0">
                              <a:solidFill>
                                <a:srgbClr val="201751"/>
                              </a:solidFill>
                              <a:latin typeface="Cambria Math" panose="02040503050406030204" pitchFamily="18" charset="0"/>
                            </a:rPr>
                            <m:t>𝑉𝑜𝑙𝑢𝑚𝑒</m:t>
                          </m:r>
                        </m:e>
                        <m:sub>
                          <m:r>
                            <a:rPr lang="en-US" sz="1400" b="0" i="1" smtClean="0">
                              <a:solidFill>
                                <a:srgbClr val="201751"/>
                              </a:solidFill>
                              <a:latin typeface="Cambria Math" panose="02040503050406030204" pitchFamily="18" charset="0"/>
                            </a:rPr>
                            <m:t>𝑡</m:t>
                          </m:r>
                        </m:sub>
                      </m:sSub>
                      <m:r>
                        <a:rPr lang="en-US" sz="1400" b="0" i="1" smtClean="0">
                          <a:solidFill>
                            <a:srgbClr val="201751"/>
                          </a:solidFill>
                          <a:latin typeface="Cambria Math" panose="02040503050406030204" pitchFamily="18" charset="0"/>
                        </a:rPr>
                        <m:t>=25763 ∗</m:t>
                      </m:r>
                      <m:sSub>
                        <m:sSubPr>
                          <m:ctrlPr>
                            <a:rPr lang="en-US" sz="1400" b="0" i="1" smtClean="0">
                              <a:solidFill>
                                <a:srgbClr val="201751"/>
                              </a:solidFill>
                              <a:latin typeface="Cambria Math" panose="02040503050406030204" pitchFamily="18" charset="0"/>
                            </a:rPr>
                          </m:ctrlPr>
                        </m:sSubPr>
                        <m:e>
                          <m:r>
                            <a:rPr lang="en-US" sz="1400" b="0" i="1" smtClean="0">
                              <a:solidFill>
                                <a:srgbClr val="201751"/>
                              </a:solidFill>
                              <a:latin typeface="Cambria Math" panose="02040503050406030204" pitchFamily="18" charset="0"/>
                            </a:rPr>
                            <m:t>𝐼𝑚𝑝𝑙𝑖𝑒𝑑</m:t>
                          </m:r>
                          <m:r>
                            <a:rPr lang="en-US" sz="1400" b="0" i="1" smtClean="0">
                              <a:solidFill>
                                <a:srgbClr val="201751"/>
                              </a:solidFill>
                              <a:latin typeface="Cambria Math" panose="02040503050406030204" pitchFamily="18" charset="0"/>
                            </a:rPr>
                            <m:t> </m:t>
                          </m:r>
                          <m:r>
                            <a:rPr lang="en-US" sz="1400" b="0" i="1" smtClean="0">
                              <a:solidFill>
                                <a:srgbClr val="201751"/>
                              </a:solidFill>
                              <a:latin typeface="Cambria Math" panose="02040503050406030204" pitchFamily="18" charset="0"/>
                            </a:rPr>
                            <m:t>𝑉𝑜𝑙𝑎𝑡𝑖𝑙𝑖𝑡𝑦</m:t>
                          </m:r>
                        </m:e>
                        <m:sub>
                          <m:r>
                            <a:rPr lang="en-US" sz="1400" b="0" i="1" smtClean="0">
                              <a:solidFill>
                                <a:srgbClr val="201751"/>
                              </a:solidFill>
                              <a:latin typeface="Cambria Math" panose="02040503050406030204" pitchFamily="18" charset="0"/>
                            </a:rPr>
                            <m:t>𝑡</m:t>
                          </m:r>
                          <m:r>
                            <a:rPr lang="en-US" sz="1400" b="0" i="1" smtClean="0">
                              <a:solidFill>
                                <a:srgbClr val="201751"/>
                              </a:solidFill>
                              <a:latin typeface="Cambria Math" panose="02040503050406030204" pitchFamily="18" charset="0"/>
                            </a:rPr>
                            <m:t>−1</m:t>
                          </m:r>
                        </m:sub>
                      </m:sSub>
                      <m:r>
                        <a:rPr lang="en-US" sz="1400" b="0" i="1" smtClean="0">
                          <a:solidFill>
                            <a:srgbClr val="201751"/>
                          </a:solidFill>
                          <a:latin typeface="Cambria Math" panose="02040503050406030204" pitchFamily="18" charset="0"/>
                        </a:rPr>
                        <m:t>−10738∗</m:t>
                      </m:r>
                      <m:sSub>
                        <m:sSubPr>
                          <m:ctrlPr>
                            <a:rPr lang="en-US" sz="1400" b="0" i="1" smtClean="0">
                              <a:solidFill>
                                <a:srgbClr val="201751"/>
                              </a:solidFill>
                              <a:latin typeface="Cambria Math" panose="02040503050406030204" pitchFamily="18" charset="0"/>
                            </a:rPr>
                          </m:ctrlPr>
                        </m:sSubPr>
                        <m:e>
                          <m:r>
                            <a:rPr lang="en-US" sz="1400" i="1">
                              <a:solidFill>
                                <a:srgbClr val="201751"/>
                              </a:solidFill>
                              <a:latin typeface="Cambria Math" panose="02040503050406030204" pitchFamily="18" charset="0"/>
                            </a:rPr>
                            <m:t>𝑅𝑒𝑎𝑙𝑖𝑧𝑒𝑑</m:t>
                          </m:r>
                          <m:r>
                            <a:rPr lang="en-US" sz="1400" i="1">
                              <a:solidFill>
                                <a:srgbClr val="201751"/>
                              </a:solidFill>
                              <a:latin typeface="Cambria Math" panose="02040503050406030204" pitchFamily="18" charset="0"/>
                            </a:rPr>
                            <m:t> </m:t>
                          </m:r>
                          <m:r>
                            <a:rPr lang="en-US" sz="1400" i="1">
                              <a:solidFill>
                                <a:srgbClr val="201751"/>
                              </a:solidFill>
                              <a:latin typeface="Cambria Math" panose="02040503050406030204" pitchFamily="18" charset="0"/>
                            </a:rPr>
                            <m:t>𝑉𝑜𝑙𝑎𝑡𝑖𝑙𝑖𝑡𝑦</m:t>
                          </m:r>
                        </m:e>
                        <m:sub>
                          <m:r>
                            <a:rPr lang="en-US" sz="1400" b="0" i="1" smtClean="0">
                              <a:solidFill>
                                <a:srgbClr val="201751"/>
                              </a:solidFill>
                              <a:latin typeface="Cambria Math" panose="02040503050406030204" pitchFamily="18" charset="0"/>
                            </a:rPr>
                            <m:t>𝑡</m:t>
                          </m:r>
                          <m:r>
                            <a:rPr lang="en-US" sz="1400" b="0" i="1" smtClean="0">
                              <a:solidFill>
                                <a:srgbClr val="201751"/>
                              </a:solidFill>
                              <a:latin typeface="Cambria Math" panose="02040503050406030204" pitchFamily="18" charset="0"/>
                            </a:rPr>
                            <m:t>−1 </m:t>
                          </m:r>
                        </m:sub>
                      </m:sSub>
                      <m:r>
                        <a:rPr lang="en-US" sz="1400" b="0" i="1" smtClean="0">
                          <a:solidFill>
                            <a:srgbClr val="201751"/>
                          </a:solidFill>
                          <a:latin typeface="Cambria Math" panose="02040503050406030204" pitchFamily="18" charset="0"/>
                        </a:rPr>
                        <m:t>−18069∗</m:t>
                      </m:r>
                      <m:sSub>
                        <m:sSubPr>
                          <m:ctrlPr>
                            <a:rPr lang="en-US" sz="1400" i="1">
                              <a:solidFill>
                                <a:srgbClr val="201751"/>
                              </a:solidFill>
                              <a:latin typeface="Cambria Math" panose="02040503050406030204" pitchFamily="18" charset="0"/>
                            </a:rPr>
                          </m:ctrlPr>
                        </m:sSubPr>
                        <m:e>
                          <m:r>
                            <a:rPr lang="en-US" sz="1400" i="1">
                              <a:solidFill>
                                <a:srgbClr val="201751"/>
                              </a:solidFill>
                              <a:latin typeface="Cambria Math" panose="02040503050406030204" pitchFamily="18" charset="0"/>
                            </a:rPr>
                            <m:t>𝐼𝑚𝑝𝑙𝑖𝑒𝑑</m:t>
                          </m:r>
                          <m:r>
                            <a:rPr lang="en-US" sz="1400" i="1">
                              <a:solidFill>
                                <a:srgbClr val="201751"/>
                              </a:solidFill>
                              <a:latin typeface="Cambria Math" panose="02040503050406030204" pitchFamily="18" charset="0"/>
                            </a:rPr>
                            <m:t> </m:t>
                          </m:r>
                          <m:r>
                            <a:rPr lang="en-US" sz="1400" i="1">
                              <a:solidFill>
                                <a:srgbClr val="201751"/>
                              </a:solidFill>
                              <a:latin typeface="Cambria Math" panose="02040503050406030204" pitchFamily="18" charset="0"/>
                            </a:rPr>
                            <m:t>𝑉𝑜𝑙𝑎𝑡𝑖𝑙𝑖𝑡𝑦</m:t>
                          </m:r>
                        </m:e>
                        <m:sub>
                          <m:r>
                            <a:rPr lang="en-US" sz="1400" i="1">
                              <a:solidFill>
                                <a:srgbClr val="201751"/>
                              </a:solidFill>
                              <a:latin typeface="Cambria Math" panose="02040503050406030204" pitchFamily="18" charset="0"/>
                            </a:rPr>
                            <m:t>𝑡</m:t>
                          </m:r>
                          <m:r>
                            <a:rPr lang="en-US" sz="1400" i="1">
                              <a:solidFill>
                                <a:srgbClr val="201751"/>
                              </a:solidFill>
                              <a:latin typeface="Cambria Math" panose="02040503050406030204" pitchFamily="18" charset="0"/>
                            </a:rPr>
                            <m:t>−2</m:t>
                          </m:r>
                        </m:sub>
                      </m:sSub>
                      <m:r>
                        <a:rPr lang="en-US" sz="1400" b="0" i="1" smtClean="0">
                          <a:solidFill>
                            <a:srgbClr val="201751"/>
                          </a:solidFill>
                          <a:latin typeface="Cambria Math" panose="02040503050406030204" pitchFamily="18" charset="0"/>
                        </a:rPr>
                        <m:t>+7908 ∗</m:t>
                      </m:r>
                      <m:sSub>
                        <m:sSubPr>
                          <m:ctrlPr>
                            <a:rPr lang="en-US" sz="1400" b="0" i="1" smtClean="0">
                              <a:solidFill>
                                <a:srgbClr val="201751"/>
                              </a:solidFill>
                              <a:latin typeface="Cambria Math" panose="02040503050406030204" pitchFamily="18" charset="0"/>
                            </a:rPr>
                          </m:ctrlPr>
                        </m:sSubPr>
                        <m:e>
                          <m:r>
                            <a:rPr lang="en-US" sz="1400" b="0" i="1" smtClean="0">
                              <a:solidFill>
                                <a:srgbClr val="201751"/>
                              </a:solidFill>
                              <a:latin typeface="Cambria Math" panose="02040503050406030204" pitchFamily="18" charset="0"/>
                            </a:rPr>
                            <m:t>𝑅𝑒𝑎𝑙𝑖𝑧𝑒𝑑</m:t>
                          </m:r>
                          <m:r>
                            <a:rPr lang="en-US" sz="1400" b="0" i="1" smtClean="0">
                              <a:solidFill>
                                <a:srgbClr val="201751"/>
                              </a:solidFill>
                              <a:latin typeface="Cambria Math" panose="02040503050406030204" pitchFamily="18" charset="0"/>
                            </a:rPr>
                            <m:t> </m:t>
                          </m:r>
                          <m:r>
                            <a:rPr lang="en-US" sz="1400" b="0" i="1" smtClean="0">
                              <a:solidFill>
                                <a:srgbClr val="201751"/>
                              </a:solidFill>
                              <a:latin typeface="Cambria Math" panose="02040503050406030204" pitchFamily="18" charset="0"/>
                            </a:rPr>
                            <m:t>𝑉𝑜𝑙𝑎𝑡𝑖𝑙𝑖𝑡𝑦</m:t>
                          </m:r>
                        </m:e>
                        <m:sub>
                          <m:r>
                            <a:rPr lang="en-US" sz="1400" b="0" i="1" smtClean="0">
                              <a:solidFill>
                                <a:srgbClr val="201751"/>
                              </a:solidFill>
                              <a:latin typeface="Cambria Math" panose="02040503050406030204" pitchFamily="18" charset="0"/>
                            </a:rPr>
                            <m:t>𝑡</m:t>
                          </m:r>
                          <m:r>
                            <a:rPr lang="en-US" sz="1400" b="0" i="1" smtClean="0">
                              <a:solidFill>
                                <a:srgbClr val="201751"/>
                              </a:solidFill>
                              <a:latin typeface="Cambria Math" panose="02040503050406030204" pitchFamily="18" charset="0"/>
                            </a:rPr>
                            <m:t>−2</m:t>
                          </m:r>
                        </m:sub>
                      </m:sSub>
                    </m:oMath>
                  </m:oMathPara>
                </a14:m>
                <a:endParaRPr lang="en-US" sz="1400" dirty="0">
                  <a:solidFill>
                    <a:srgbClr val="201751"/>
                  </a:solidFill>
                  <a:latin typeface="Arial"/>
                </a:endParaRPr>
              </a:p>
              <a:p>
                <a:pPr>
                  <a:buNone/>
                  <a:defRPr/>
                </a:pPr>
                <a:endParaRPr lang="en-US" sz="1400" dirty="0">
                  <a:solidFill>
                    <a:srgbClr val="201751"/>
                  </a:solidFill>
                  <a:latin typeface="Arial"/>
                </a:endParaRPr>
              </a:p>
              <a:p>
                <a:pPr>
                  <a:buNone/>
                  <a:defRPr/>
                </a:pPr>
                <a:endParaRPr kumimoji="0" lang="en-US" sz="1400" b="0" i="0" u="none" strike="noStrike" kern="1200" cap="none" spc="0" normalizeH="0" baseline="0" dirty="0">
                  <a:ln>
                    <a:noFill/>
                  </a:ln>
                  <a:solidFill>
                    <a:srgbClr val="201751"/>
                  </a:solidFill>
                  <a:effectLst/>
                  <a:uLnTx/>
                  <a:uFillTx/>
                  <a:latin typeface="Arial"/>
                  <a:ea typeface="+mn-ea"/>
                  <a:cs typeface="+mn-cs"/>
                </a:endParaRPr>
              </a:p>
            </p:txBody>
          </p:sp>
        </mc:Choice>
        <mc:Fallback>
          <p:sp>
            <p:nvSpPr>
              <p:cNvPr id="35" name="Textbox">
                <a:extLst>
                  <a:ext uri="{FF2B5EF4-FFF2-40B4-BE49-F238E27FC236}">
                    <a16:creationId xmlns:a16="http://schemas.microsoft.com/office/drawing/2014/main" id="{24462F27-534F-405C-B2A7-1F28D76D2476}"/>
                  </a:ext>
                </a:extLst>
              </p:cNvPr>
              <p:cNvSpPr txBox="1">
                <a:spLocks noRot="1" noChangeAspect="1" noMove="1" noResize="1" noEditPoints="1" noAdjustHandles="1" noChangeArrowheads="1" noChangeShapeType="1" noTextEdit="1"/>
              </p:cNvSpPr>
              <p:nvPr>
                <p:custDataLst>
                  <p:tags r:id="rId3"/>
                </p:custDataLst>
              </p:nvPr>
            </p:nvSpPr>
            <p:spPr bwMode="gray">
              <a:xfrm>
                <a:off x="587375" y="4642452"/>
                <a:ext cx="11017250" cy="1713898"/>
              </a:xfrm>
              <a:prstGeom prst="rect">
                <a:avLst/>
              </a:prstGeom>
              <a:blipFill>
                <a:blip r:embed="rId6"/>
                <a:stretch>
                  <a:fillRect l="-996" t="-3203"/>
                </a:stretch>
              </a:blipFill>
            </p:spPr>
            <p:txBody>
              <a:bodyPr/>
              <a:lstStyle/>
              <a:p>
                <a:r>
                  <a:rPr lang="sr-Latn-RS">
                    <a:noFill/>
                  </a:rPr>
                  <a:t> </a:t>
                </a:r>
              </a:p>
            </p:txBody>
          </p:sp>
        </mc:Fallback>
      </mc:AlternateContent>
      <p:sp>
        <p:nvSpPr>
          <p:cNvPr id="9" name="TextBox 8">
            <a:extLst>
              <a:ext uri="{FF2B5EF4-FFF2-40B4-BE49-F238E27FC236}">
                <a16:creationId xmlns:a16="http://schemas.microsoft.com/office/drawing/2014/main" id="{D2271D05-0DBB-4530-B25C-707A24D11998}"/>
              </a:ext>
            </a:extLst>
          </p:cNvPr>
          <p:cNvSpPr txBox="1"/>
          <p:nvPr/>
        </p:nvSpPr>
        <p:spPr>
          <a:xfrm>
            <a:off x="712668" y="6575150"/>
            <a:ext cx="4780721" cy="282850"/>
          </a:xfrm>
          <a:prstGeom prst="rect">
            <a:avLst/>
          </a:prstGeom>
          <a:noFill/>
        </p:spPr>
        <p:txBody>
          <a:bodyPr wrap="square" lIns="0" tIns="0" rIns="0" bIns="0" rtlCol="0">
            <a:noAutofit/>
          </a:bodyPr>
          <a:lstStyle/>
          <a:p>
            <a:pPr algn="l"/>
            <a:r>
              <a:rPr lang="de-DE" sz="800" dirty="0"/>
              <a:t>*</a:t>
            </a:r>
            <a:r>
              <a:rPr lang="de-DE" sz="800" dirty="0" err="1"/>
              <a:t>Applying</a:t>
            </a:r>
            <a:r>
              <a:rPr lang="de-DE" sz="800" dirty="0"/>
              <a:t> lag </a:t>
            </a:r>
            <a:r>
              <a:rPr lang="de-DE" sz="800" dirty="0" err="1"/>
              <a:t>or</a:t>
            </a:r>
            <a:r>
              <a:rPr lang="de-DE" sz="800" dirty="0"/>
              <a:t> not </a:t>
            </a:r>
            <a:r>
              <a:rPr lang="de-DE" sz="800" dirty="0" err="1"/>
              <a:t>to</a:t>
            </a:r>
            <a:r>
              <a:rPr lang="de-DE" sz="800" dirty="0"/>
              <a:t> </a:t>
            </a:r>
            <a:r>
              <a:rPr lang="de-DE" sz="800" dirty="0" err="1"/>
              <a:t>implied</a:t>
            </a:r>
            <a:r>
              <a:rPr lang="de-DE" sz="800" dirty="0"/>
              <a:t> </a:t>
            </a:r>
            <a:r>
              <a:rPr lang="de-DE" sz="800" dirty="0" err="1"/>
              <a:t>volatility</a:t>
            </a:r>
            <a:r>
              <a:rPr lang="de-DE" sz="800" dirty="0"/>
              <a:t> </a:t>
            </a:r>
            <a:r>
              <a:rPr lang="de-DE" sz="800" dirty="0" err="1"/>
              <a:t>changes</a:t>
            </a:r>
            <a:r>
              <a:rPr lang="de-DE" sz="800" dirty="0"/>
              <a:t> </a:t>
            </a:r>
            <a:r>
              <a:rPr lang="de-DE" sz="800" dirty="0" err="1"/>
              <a:t>the</a:t>
            </a:r>
            <a:r>
              <a:rPr lang="de-DE" sz="800" dirty="0"/>
              <a:t> </a:t>
            </a:r>
            <a:r>
              <a:rPr lang="de-DE" sz="800" dirty="0" err="1"/>
              <a:t>impact</a:t>
            </a:r>
            <a:r>
              <a:rPr lang="de-DE" sz="800" dirty="0"/>
              <a:t> </a:t>
            </a:r>
            <a:r>
              <a:rPr lang="de-DE" sz="800" dirty="0" err="1"/>
              <a:t>of</a:t>
            </a:r>
            <a:r>
              <a:rPr lang="de-DE" sz="800" dirty="0"/>
              <a:t> </a:t>
            </a:r>
            <a:r>
              <a:rPr lang="de-DE" sz="800" dirty="0" err="1"/>
              <a:t>difference</a:t>
            </a:r>
            <a:r>
              <a:rPr lang="de-DE" sz="800" dirty="0"/>
              <a:t> </a:t>
            </a:r>
            <a:r>
              <a:rPr lang="de-DE" sz="800" dirty="0" err="1"/>
              <a:t>for</a:t>
            </a:r>
            <a:r>
              <a:rPr lang="de-DE" sz="800" dirty="0"/>
              <a:t> 3000 </a:t>
            </a:r>
            <a:r>
              <a:rPr lang="de-DE" sz="800" dirty="0" err="1"/>
              <a:t>contracts</a:t>
            </a:r>
            <a:r>
              <a:rPr lang="de-DE" sz="800" dirty="0"/>
              <a:t>, </a:t>
            </a:r>
            <a:r>
              <a:rPr lang="de-DE" sz="800" dirty="0" err="1"/>
              <a:t>keeping</a:t>
            </a:r>
            <a:r>
              <a:rPr lang="de-DE" sz="800" dirty="0"/>
              <a:t> </a:t>
            </a:r>
            <a:r>
              <a:rPr lang="de-DE" sz="800" dirty="0" err="1"/>
              <a:t>the</a:t>
            </a:r>
            <a:r>
              <a:rPr lang="de-DE" sz="800" dirty="0"/>
              <a:t> </a:t>
            </a:r>
            <a:r>
              <a:rPr lang="de-DE" sz="800" dirty="0" err="1"/>
              <a:t>sign</a:t>
            </a:r>
            <a:r>
              <a:rPr lang="de-DE" sz="800" dirty="0"/>
              <a:t> same</a:t>
            </a:r>
          </a:p>
        </p:txBody>
      </p:sp>
    </p:spTree>
    <p:extLst>
      <p:ext uri="{BB962C8B-B14F-4D97-AF65-F5344CB8AC3E}">
        <p14:creationId xmlns:p14="http://schemas.microsoft.com/office/powerpoint/2010/main" val="31994897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8E138-DDCD-4833-A59A-BAFF11EFA5EA}"/>
              </a:ext>
            </a:extLst>
          </p:cNvPr>
          <p:cNvSpPr>
            <a:spLocks noGrp="1"/>
          </p:cNvSpPr>
          <p:nvPr>
            <p:ph type="title"/>
          </p:nvPr>
        </p:nvSpPr>
        <p:spPr>
          <a:xfrm>
            <a:off x="1566774" y="1923422"/>
            <a:ext cx="5256213" cy="1237222"/>
          </a:xfrm>
        </p:spPr>
        <p:txBody>
          <a:bodyPr/>
          <a:lstStyle/>
          <a:p>
            <a:r>
              <a:rPr lang="en-US" dirty="0"/>
              <a:t>Research</a:t>
            </a:r>
          </a:p>
        </p:txBody>
      </p:sp>
      <p:sp>
        <p:nvSpPr>
          <p:cNvPr id="3" name="Text Placeholder 2">
            <a:extLst>
              <a:ext uri="{FF2B5EF4-FFF2-40B4-BE49-F238E27FC236}">
                <a16:creationId xmlns:a16="http://schemas.microsoft.com/office/drawing/2014/main" id="{242BFDF4-2333-42C1-8F61-F771D572CFAA}"/>
              </a:ext>
            </a:extLst>
          </p:cNvPr>
          <p:cNvSpPr>
            <a:spLocks noGrp="1"/>
          </p:cNvSpPr>
          <p:nvPr>
            <p:ph type="body" sz="quarter" idx="10"/>
          </p:nvPr>
        </p:nvSpPr>
        <p:spPr/>
        <p:txBody>
          <a:bodyPr/>
          <a:lstStyle/>
          <a:p>
            <a:r>
              <a:rPr lang="en-US" dirty="0"/>
              <a:t>1</a:t>
            </a:r>
          </a:p>
        </p:txBody>
      </p:sp>
      <p:sp>
        <p:nvSpPr>
          <p:cNvPr id="4" name="Date Placeholder 3">
            <a:extLst>
              <a:ext uri="{FF2B5EF4-FFF2-40B4-BE49-F238E27FC236}">
                <a16:creationId xmlns:a16="http://schemas.microsoft.com/office/drawing/2014/main" id="{AB656507-EB82-4906-8B28-ED50BF7F38D2}"/>
              </a:ext>
            </a:extLst>
          </p:cNvPr>
          <p:cNvSpPr>
            <a:spLocks noGrp="1"/>
          </p:cNvSpPr>
          <p:nvPr>
            <p:ph type="dt" sz="half" idx="11"/>
          </p:nvPr>
        </p:nvSpPr>
        <p:spPr/>
        <p:txBody>
          <a:bodyPr/>
          <a:lstStyle/>
          <a:p>
            <a:fld id="{95320B9D-1E55-417F-BC4E-8B3EF6B241F7}" type="datetime1">
              <a:rPr lang="en-US" smtClean="0"/>
              <a:t>1/16/2022</a:t>
            </a:fld>
            <a:endParaRPr lang="en-US" dirty="0"/>
          </a:p>
        </p:txBody>
      </p:sp>
      <p:sp>
        <p:nvSpPr>
          <p:cNvPr id="5" name="Slide Number Placeholder 4">
            <a:extLst>
              <a:ext uri="{FF2B5EF4-FFF2-40B4-BE49-F238E27FC236}">
                <a16:creationId xmlns:a16="http://schemas.microsoft.com/office/drawing/2014/main" id="{A805DEDF-D463-4A53-B5CB-AEB2CF8D8BB6}"/>
              </a:ext>
            </a:extLst>
          </p:cNvPr>
          <p:cNvSpPr>
            <a:spLocks noGrp="1"/>
          </p:cNvSpPr>
          <p:nvPr>
            <p:ph type="sldNum" sz="quarter" idx="12"/>
          </p:nvPr>
        </p:nvSpPr>
        <p:spPr/>
        <p:txBody>
          <a:bodyPr/>
          <a:lstStyle/>
          <a:p>
            <a:fld id="{62CB3E74-FC4B-418A-B5F6-72ED80208EB2}" type="slidenum">
              <a:rPr lang="en-US" smtClean="0"/>
              <a:pPr/>
              <a:t>4</a:t>
            </a:fld>
            <a:endParaRPr lang="en-US" dirty="0"/>
          </a:p>
        </p:txBody>
      </p:sp>
    </p:spTree>
    <p:extLst>
      <p:ext uri="{BB962C8B-B14F-4D97-AF65-F5344CB8AC3E}">
        <p14:creationId xmlns:p14="http://schemas.microsoft.com/office/powerpoint/2010/main" val="35119990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233F7-362C-43D5-B30E-7E95D45EEF05}"/>
              </a:ext>
            </a:extLst>
          </p:cNvPr>
          <p:cNvSpPr>
            <a:spLocks noGrp="1"/>
          </p:cNvSpPr>
          <p:nvPr>
            <p:ph type="title"/>
          </p:nvPr>
        </p:nvSpPr>
        <p:spPr>
          <a:xfrm>
            <a:off x="587376" y="368300"/>
            <a:ext cx="11017250" cy="648432"/>
          </a:xfrm>
        </p:spPr>
        <p:txBody>
          <a:bodyPr/>
          <a:lstStyle/>
          <a:p>
            <a:r>
              <a:rPr lang="de-DE" dirty="0"/>
              <a:t>A relevant </a:t>
            </a:r>
            <a:r>
              <a:rPr lang="de-DE" dirty="0" err="1"/>
              <a:t>topic</a:t>
            </a:r>
            <a:r>
              <a:rPr lang="de-DE" dirty="0"/>
              <a:t> </a:t>
            </a:r>
            <a:r>
              <a:rPr lang="de-DE" dirty="0" err="1"/>
              <a:t>across</a:t>
            </a:r>
            <a:r>
              <a:rPr lang="de-DE" dirty="0"/>
              <a:t> Financial Markets</a:t>
            </a:r>
            <a:r>
              <a:rPr lang="de-DE" baseline="30000" dirty="0"/>
              <a:t>1</a:t>
            </a:r>
            <a:endParaRPr lang="en-US" baseline="30000" dirty="0"/>
          </a:p>
        </p:txBody>
      </p:sp>
      <p:sp>
        <p:nvSpPr>
          <p:cNvPr id="4" name="Date Placeholder 3">
            <a:extLst>
              <a:ext uri="{FF2B5EF4-FFF2-40B4-BE49-F238E27FC236}">
                <a16:creationId xmlns:a16="http://schemas.microsoft.com/office/drawing/2014/main" id="{7A3A92EF-B3D3-480C-A62F-C34185EED521}"/>
              </a:ext>
            </a:extLst>
          </p:cNvPr>
          <p:cNvSpPr>
            <a:spLocks noGrp="1"/>
          </p:cNvSpPr>
          <p:nvPr>
            <p:ph type="dt" sz="half" idx="10"/>
          </p:nvPr>
        </p:nvSpPr>
        <p:spPr/>
        <p:txBody>
          <a:bodyPr/>
          <a:lstStyle/>
          <a:p>
            <a:fld id="{664E4E50-649A-4382-919E-7BEF182EEEDC}" type="datetime1">
              <a:rPr lang="en-US" smtClean="0"/>
              <a:t>1/16/2022</a:t>
            </a:fld>
            <a:endParaRPr lang="en-US" dirty="0"/>
          </a:p>
        </p:txBody>
      </p:sp>
      <p:sp>
        <p:nvSpPr>
          <p:cNvPr id="5" name="Slide Number Placeholder 4">
            <a:extLst>
              <a:ext uri="{FF2B5EF4-FFF2-40B4-BE49-F238E27FC236}">
                <a16:creationId xmlns:a16="http://schemas.microsoft.com/office/drawing/2014/main" id="{F5C4D6D1-8968-439C-A660-72603CED922C}"/>
              </a:ext>
            </a:extLst>
          </p:cNvPr>
          <p:cNvSpPr>
            <a:spLocks noGrp="1"/>
          </p:cNvSpPr>
          <p:nvPr>
            <p:ph type="sldNum" sz="quarter" idx="11"/>
          </p:nvPr>
        </p:nvSpPr>
        <p:spPr/>
        <p:txBody>
          <a:bodyPr/>
          <a:lstStyle/>
          <a:p>
            <a:fld id="{62CB3E74-FC4B-418A-B5F6-72ED80208EB2}" type="slidenum">
              <a:rPr lang="en-US" smtClean="0"/>
              <a:pPr/>
              <a:t>5</a:t>
            </a:fld>
            <a:endParaRPr lang="en-US" dirty="0"/>
          </a:p>
        </p:txBody>
      </p:sp>
      <p:sp>
        <p:nvSpPr>
          <p:cNvPr id="9" name="Content Placeholder 2">
            <a:extLst>
              <a:ext uri="{FF2B5EF4-FFF2-40B4-BE49-F238E27FC236}">
                <a16:creationId xmlns:a16="http://schemas.microsoft.com/office/drawing/2014/main" id="{52F7D020-49C4-493D-964D-E17958F714EC}"/>
              </a:ext>
            </a:extLst>
          </p:cNvPr>
          <p:cNvSpPr txBox="1">
            <a:spLocks/>
          </p:cNvSpPr>
          <p:nvPr>
            <p:custDataLst>
              <p:tags r:id="rId1"/>
            </p:custDataLst>
          </p:nvPr>
        </p:nvSpPr>
        <p:spPr bwMode="gray">
          <a:xfrm>
            <a:off x="2248818" y="1203466"/>
            <a:ext cx="9361054" cy="918497"/>
          </a:xfrm>
          <a:prstGeom prst="rect">
            <a:avLst/>
          </a:prstGeom>
        </p:spPr>
        <p:txBody>
          <a:bodyPr vert="horz" lIns="0" tIns="0" rIns="0" bIns="0" rtlCol="0" anchor="t" anchorCtr="0">
            <a:noAutofit/>
          </a:bodyPr>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171450" indent="-171450" defTabSz="249238" fontAlgn="base">
              <a:lnSpc>
                <a:spcPct val="100000"/>
              </a:lnSpc>
              <a:spcBef>
                <a:spcPct val="0"/>
              </a:spcBef>
              <a:spcAft>
                <a:spcPct val="0"/>
              </a:spcAft>
              <a:defRPr/>
            </a:pPr>
            <a:r>
              <a:rPr lang="en-US" sz="1400" kern="0">
                <a:solidFill>
                  <a:schemeClr val="dk1"/>
                </a:solidFill>
              </a:rPr>
              <a:t>CBOE reported a yearly record spread between implied and realized volatility on 08.09 on the S&amp;P500 and 27.09. on the Russell 2000. Previous comparable levels in 2016 after USA elections. Realized volatility was ~8% of implied.</a:t>
            </a:r>
          </a:p>
          <a:p>
            <a:pPr marL="171450" indent="-171450" defTabSz="249238" fontAlgn="base">
              <a:lnSpc>
                <a:spcPct val="100000"/>
              </a:lnSpc>
              <a:spcBef>
                <a:spcPct val="0"/>
              </a:spcBef>
              <a:spcAft>
                <a:spcPct val="0"/>
              </a:spcAft>
              <a:defRPr/>
            </a:pPr>
            <a:r>
              <a:rPr lang="en-US" sz="1400" kern="0">
                <a:solidFill>
                  <a:schemeClr val="dk1"/>
                </a:solidFill>
              </a:rPr>
              <a:t>CBOE launched 3-month implied correlation index on 01.07.2021 to help traders implement dispersion trading strategies designed to trade this spread</a:t>
            </a:r>
          </a:p>
        </p:txBody>
      </p:sp>
      <p:sp>
        <p:nvSpPr>
          <p:cNvPr id="11" name="Rectangle 10">
            <a:extLst>
              <a:ext uri="{FF2B5EF4-FFF2-40B4-BE49-F238E27FC236}">
                <a16:creationId xmlns:a16="http://schemas.microsoft.com/office/drawing/2014/main" id="{1B5C53C7-3671-4CAA-A585-805F9C84D016}"/>
              </a:ext>
            </a:extLst>
          </p:cNvPr>
          <p:cNvSpPr/>
          <p:nvPr/>
        </p:nvSpPr>
        <p:spPr>
          <a:xfrm>
            <a:off x="577215" y="1223756"/>
            <a:ext cx="1512181" cy="894271"/>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400" b="1"/>
              <a:t>CBOE</a:t>
            </a:r>
          </a:p>
        </p:txBody>
      </p:sp>
      <p:sp>
        <p:nvSpPr>
          <p:cNvPr id="12" name="TextBox 11">
            <a:extLst>
              <a:ext uri="{FF2B5EF4-FFF2-40B4-BE49-F238E27FC236}">
                <a16:creationId xmlns:a16="http://schemas.microsoft.com/office/drawing/2014/main" id="{096B1FD0-5E96-4438-A65C-A6D4CA2DB408}"/>
              </a:ext>
            </a:extLst>
          </p:cNvPr>
          <p:cNvSpPr txBox="1"/>
          <p:nvPr/>
        </p:nvSpPr>
        <p:spPr>
          <a:xfrm>
            <a:off x="712668" y="6575150"/>
            <a:ext cx="4780721" cy="282850"/>
          </a:xfrm>
          <a:prstGeom prst="rect">
            <a:avLst/>
          </a:prstGeom>
          <a:noFill/>
        </p:spPr>
        <p:txBody>
          <a:bodyPr wrap="square" lIns="0" tIns="0" rIns="0" bIns="0" rtlCol="0">
            <a:noAutofit/>
          </a:bodyPr>
          <a:lstStyle/>
          <a:p>
            <a:pPr algn="l"/>
            <a:r>
              <a:rPr lang="de-DE" sz="800" dirty="0"/>
              <a:t>1 All links in References at </a:t>
            </a:r>
            <a:r>
              <a:rPr lang="de-DE" sz="800" dirty="0" err="1"/>
              <a:t>the</a:t>
            </a:r>
            <a:r>
              <a:rPr lang="de-DE" sz="800" dirty="0"/>
              <a:t> end</a:t>
            </a:r>
          </a:p>
          <a:p>
            <a:pPr algn="l"/>
            <a:r>
              <a:rPr lang="de-DE" sz="800" dirty="0"/>
              <a:t>2 Dates 29.10.2021 29.10.2020 </a:t>
            </a:r>
            <a:r>
              <a:rPr lang="de-DE" sz="800" dirty="0" err="1"/>
              <a:t>taken</a:t>
            </a:r>
            <a:endParaRPr lang="en-US" sz="800" dirty="0"/>
          </a:p>
        </p:txBody>
      </p:sp>
      <p:sp>
        <p:nvSpPr>
          <p:cNvPr id="23" name="Rectangle 22">
            <a:extLst>
              <a:ext uri="{FF2B5EF4-FFF2-40B4-BE49-F238E27FC236}">
                <a16:creationId xmlns:a16="http://schemas.microsoft.com/office/drawing/2014/main" id="{39E1EE89-A165-4E01-8076-6BF766515A15}"/>
              </a:ext>
            </a:extLst>
          </p:cNvPr>
          <p:cNvSpPr/>
          <p:nvPr/>
        </p:nvSpPr>
        <p:spPr>
          <a:xfrm>
            <a:off x="587376" y="3750129"/>
            <a:ext cx="1512181" cy="2379209"/>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400" b="1"/>
              <a:t>Volatility vs Index Levels</a:t>
            </a:r>
          </a:p>
        </p:txBody>
      </p:sp>
      <p:sp>
        <p:nvSpPr>
          <p:cNvPr id="27" name="Rectangle 26">
            <a:extLst>
              <a:ext uri="{FF2B5EF4-FFF2-40B4-BE49-F238E27FC236}">
                <a16:creationId xmlns:a16="http://schemas.microsoft.com/office/drawing/2014/main" id="{0033C6EB-91D5-4003-AA80-CA73912CB669}"/>
              </a:ext>
            </a:extLst>
          </p:cNvPr>
          <p:cNvSpPr/>
          <p:nvPr/>
        </p:nvSpPr>
        <p:spPr>
          <a:xfrm>
            <a:off x="6060752" y="2402873"/>
            <a:ext cx="1658769" cy="201168"/>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b="1"/>
              <a:t>CBOE</a:t>
            </a:r>
          </a:p>
        </p:txBody>
      </p:sp>
      <p:sp>
        <p:nvSpPr>
          <p:cNvPr id="30" name="TextBox 29">
            <a:extLst>
              <a:ext uri="{FF2B5EF4-FFF2-40B4-BE49-F238E27FC236}">
                <a16:creationId xmlns:a16="http://schemas.microsoft.com/office/drawing/2014/main" id="{2E3DD0CD-E056-4E2B-9FFA-C4B1165A60F9}"/>
              </a:ext>
            </a:extLst>
          </p:cNvPr>
          <p:cNvSpPr txBox="1"/>
          <p:nvPr/>
        </p:nvSpPr>
        <p:spPr>
          <a:xfrm>
            <a:off x="6087365" y="2615398"/>
            <a:ext cx="1625241" cy="796716"/>
          </a:xfrm>
          <a:prstGeom prst="rect">
            <a:avLst/>
          </a:prstGeom>
          <a:noFill/>
        </p:spPr>
        <p:txBody>
          <a:bodyPr wrap="square" lIns="0" tIns="0" rIns="0" bIns="0" rtlCol="0">
            <a:noAutofit/>
          </a:bodyPr>
          <a:lstStyle/>
          <a:p>
            <a:pPr algn="ctr"/>
            <a:r>
              <a:rPr lang="en-US" sz="1400"/>
              <a:t>4% YTD increase in VIX underlying volumes 21v20</a:t>
            </a:r>
            <a:endParaRPr lang="en-US" sz="1400" baseline="30000"/>
          </a:p>
        </p:txBody>
      </p:sp>
      <p:sp>
        <p:nvSpPr>
          <p:cNvPr id="18" name="Content Placeholder 2">
            <a:extLst>
              <a:ext uri="{FF2B5EF4-FFF2-40B4-BE49-F238E27FC236}">
                <a16:creationId xmlns:a16="http://schemas.microsoft.com/office/drawing/2014/main" id="{7F2234F4-FCE1-4036-822C-01904A967BE5}"/>
              </a:ext>
            </a:extLst>
          </p:cNvPr>
          <p:cNvSpPr txBox="1">
            <a:spLocks/>
          </p:cNvSpPr>
          <p:nvPr>
            <p:custDataLst>
              <p:tags r:id="rId2"/>
            </p:custDataLst>
          </p:nvPr>
        </p:nvSpPr>
        <p:spPr bwMode="gray">
          <a:xfrm>
            <a:off x="2253731" y="3750128"/>
            <a:ext cx="3842269" cy="2379210"/>
          </a:xfrm>
          <a:prstGeom prst="rect">
            <a:avLst/>
          </a:prstGeom>
        </p:spPr>
        <p:txBody>
          <a:bodyPr vert="horz" lIns="0" tIns="0" rIns="0" bIns="0" rtlCol="0" anchor="t" anchorCtr="0">
            <a:noAutofit/>
          </a:bodyPr>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171450" indent="-171450" defTabSz="249238" fontAlgn="base">
              <a:lnSpc>
                <a:spcPct val="100000"/>
              </a:lnSpc>
              <a:spcBef>
                <a:spcPct val="0"/>
              </a:spcBef>
              <a:spcAft>
                <a:spcPct val="0"/>
              </a:spcAft>
              <a:defRPr/>
            </a:pPr>
            <a:r>
              <a:rPr lang="en-US" sz="1400" kern="0">
                <a:solidFill>
                  <a:schemeClr val="dk1"/>
                </a:solidFill>
              </a:rPr>
              <a:t>Volatility is no longer synonymous with falling markets</a:t>
            </a:r>
          </a:p>
          <a:p>
            <a:pPr marL="171450" indent="-171450" defTabSz="249238" fontAlgn="base">
              <a:lnSpc>
                <a:spcPct val="100000"/>
              </a:lnSpc>
              <a:spcBef>
                <a:spcPct val="0"/>
              </a:spcBef>
              <a:spcAft>
                <a:spcPct val="0"/>
              </a:spcAft>
              <a:defRPr/>
            </a:pPr>
            <a:r>
              <a:rPr lang="en-US" sz="1400" kern="0">
                <a:solidFill>
                  <a:schemeClr val="dk1"/>
                </a:solidFill>
              </a:rPr>
              <a:t>VIX and S&amp;P 500 moving in tandem</a:t>
            </a:r>
          </a:p>
          <a:p>
            <a:pPr marL="171450" indent="-171450" defTabSz="249238" fontAlgn="base">
              <a:lnSpc>
                <a:spcPct val="100000"/>
              </a:lnSpc>
              <a:spcBef>
                <a:spcPct val="0"/>
              </a:spcBef>
              <a:spcAft>
                <a:spcPct val="0"/>
              </a:spcAft>
              <a:defRPr/>
            </a:pPr>
            <a:r>
              <a:rPr lang="en-US" sz="1400" kern="0">
                <a:solidFill>
                  <a:schemeClr val="dk1"/>
                </a:solidFill>
              </a:rPr>
              <a:t>Similar Picture in the last 12 trading days on the Euro STOXX 50 and VSTOXX</a:t>
            </a:r>
          </a:p>
          <a:p>
            <a:pPr marL="171450" indent="-171450" defTabSz="249238" fontAlgn="base">
              <a:lnSpc>
                <a:spcPct val="100000"/>
              </a:lnSpc>
              <a:spcBef>
                <a:spcPct val="0"/>
              </a:spcBef>
              <a:spcAft>
                <a:spcPct val="0"/>
              </a:spcAft>
              <a:defRPr/>
            </a:pPr>
            <a:r>
              <a:rPr lang="en-US" sz="1400" kern="0">
                <a:solidFill>
                  <a:schemeClr val="dk1"/>
                </a:solidFill>
              </a:rPr>
              <a:t>Volatility product volumes performing well in relatively calm markets with traders buying dips</a:t>
            </a:r>
          </a:p>
          <a:p>
            <a:pPr marL="285750" indent="-285750" defTabSz="249238" fontAlgn="base">
              <a:spcBef>
                <a:spcPct val="0"/>
              </a:spcBef>
              <a:spcAft>
                <a:spcPct val="0"/>
              </a:spcAft>
              <a:defRPr/>
            </a:pPr>
            <a:endParaRPr lang="en-US" sz="1400" kern="0">
              <a:solidFill>
                <a:schemeClr val="dk1"/>
              </a:solidFill>
            </a:endParaRPr>
          </a:p>
        </p:txBody>
      </p:sp>
      <p:pic>
        <p:nvPicPr>
          <p:cNvPr id="6" name="Picture 5">
            <a:extLst>
              <a:ext uri="{FF2B5EF4-FFF2-40B4-BE49-F238E27FC236}">
                <a16:creationId xmlns:a16="http://schemas.microsoft.com/office/drawing/2014/main" id="{969D1BFC-FC75-4EAE-B8AB-4609470B60D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62007" y="3483686"/>
            <a:ext cx="5242617" cy="2655225"/>
          </a:xfrm>
          <a:prstGeom prst="rect">
            <a:avLst/>
          </a:prstGeom>
        </p:spPr>
      </p:pic>
      <p:cxnSp>
        <p:nvCxnSpPr>
          <p:cNvPr id="8" name="Straight Arrow Connector 7">
            <a:extLst>
              <a:ext uri="{FF2B5EF4-FFF2-40B4-BE49-F238E27FC236}">
                <a16:creationId xmlns:a16="http://schemas.microsoft.com/office/drawing/2014/main" id="{C94BFA56-8C15-4AF8-88FE-F513BD7ABD6C}"/>
              </a:ext>
            </a:extLst>
          </p:cNvPr>
          <p:cNvCxnSpPr/>
          <p:nvPr/>
        </p:nvCxnSpPr>
        <p:spPr>
          <a:xfrm flipV="1">
            <a:off x="7891549" y="4200698"/>
            <a:ext cx="1540626" cy="953193"/>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31" name="Straight Arrow Connector 30">
            <a:extLst>
              <a:ext uri="{FF2B5EF4-FFF2-40B4-BE49-F238E27FC236}">
                <a16:creationId xmlns:a16="http://schemas.microsoft.com/office/drawing/2014/main" id="{00B7AF2D-A713-4D45-85D2-042DDFF98B41}"/>
              </a:ext>
            </a:extLst>
          </p:cNvPr>
          <p:cNvCxnSpPr/>
          <p:nvPr/>
        </p:nvCxnSpPr>
        <p:spPr>
          <a:xfrm flipV="1">
            <a:off x="8157556" y="4547062"/>
            <a:ext cx="1540626" cy="9531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 name="Straight Arrow Connector 31">
            <a:extLst>
              <a:ext uri="{FF2B5EF4-FFF2-40B4-BE49-F238E27FC236}">
                <a16:creationId xmlns:a16="http://schemas.microsoft.com/office/drawing/2014/main" id="{8700FF26-6C44-4480-A6C3-951A2869E931}"/>
              </a:ext>
            </a:extLst>
          </p:cNvPr>
          <p:cNvCxnSpPr>
            <a:cxnSpLocks/>
          </p:cNvCxnSpPr>
          <p:nvPr/>
        </p:nvCxnSpPr>
        <p:spPr>
          <a:xfrm flipV="1">
            <a:off x="10173118" y="3743576"/>
            <a:ext cx="770313" cy="493612"/>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33" name="Straight Arrow Connector 32">
            <a:extLst>
              <a:ext uri="{FF2B5EF4-FFF2-40B4-BE49-F238E27FC236}">
                <a16:creationId xmlns:a16="http://schemas.microsoft.com/office/drawing/2014/main" id="{126271AE-E064-403A-B031-65E594E44170}"/>
              </a:ext>
            </a:extLst>
          </p:cNvPr>
          <p:cNvCxnSpPr>
            <a:cxnSpLocks/>
          </p:cNvCxnSpPr>
          <p:nvPr/>
        </p:nvCxnSpPr>
        <p:spPr>
          <a:xfrm flipV="1">
            <a:off x="10358450" y="4594167"/>
            <a:ext cx="703019" cy="46393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5" name="TextBox 14">
            <a:extLst>
              <a:ext uri="{FF2B5EF4-FFF2-40B4-BE49-F238E27FC236}">
                <a16:creationId xmlns:a16="http://schemas.microsoft.com/office/drawing/2014/main" id="{B34D4D0B-DB42-41DE-9D2E-87C2DEA3DF74}"/>
              </a:ext>
            </a:extLst>
          </p:cNvPr>
          <p:cNvSpPr txBox="1"/>
          <p:nvPr/>
        </p:nvSpPr>
        <p:spPr>
          <a:xfrm>
            <a:off x="6670240" y="6133813"/>
            <a:ext cx="4666211" cy="204394"/>
          </a:xfrm>
          <a:prstGeom prst="rect">
            <a:avLst/>
          </a:prstGeom>
          <a:noFill/>
        </p:spPr>
        <p:txBody>
          <a:bodyPr wrap="square" lIns="0" tIns="0" rIns="0" bIns="0" rtlCol="0">
            <a:noAutofit/>
          </a:bodyPr>
          <a:lstStyle/>
          <a:p>
            <a:pPr algn="l"/>
            <a:r>
              <a:rPr lang="en-US" sz="800" dirty="0"/>
              <a:t>Note : 25 period smoothing applied for easier trend detection</a:t>
            </a:r>
          </a:p>
        </p:txBody>
      </p:sp>
      <p:sp>
        <p:nvSpPr>
          <p:cNvPr id="35" name="Rectangle 34">
            <a:extLst>
              <a:ext uri="{FF2B5EF4-FFF2-40B4-BE49-F238E27FC236}">
                <a16:creationId xmlns:a16="http://schemas.microsoft.com/office/drawing/2014/main" id="{2AE38350-5EFA-41DE-A84C-A46345E2A928}"/>
              </a:ext>
            </a:extLst>
          </p:cNvPr>
          <p:cNvSpPr/>
          <p:nvPr/>
        </p:nvSpPr>
        <p:spPr>
          <a:xfrm>
            <a:off x="572302" y="2402873"/>
            <a:ext cx="1512181" cy="1127382"/>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400" b="1"/>
              <a:t>Volatility Product Volumes</a:t>
            </a:r>
          </a:p>
        </p:txBody>
      </p:sp>
      <p:sp>
        <p:nvSpPr>
          <p:cNvPr id="36" name="Rectangle 35">
            <a:extLst>
              <a:ext uri="{FF2B5EF4-FFF2-40B4-BE49-F238E27FC236}">
                <a16:creationId xmlns:a16="http://schemas.microsoft.com/office/drawing/2014/main" id="{EB0902E3-E084-433B-80F5-9D7A5985791D}"/>
              </a:ext>
            </a:extLst>
          </p:cNvPr>
          <p:cNvSpPr/>
          <p:nvPr/>
        </p:nvSpPr>
        <p:spPr>
          <a:xfrm>
            <a:off x="2305712" y="2402873"/>
            <a:ext cx="1658769" cy="201945"/>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b="1"/>
              <a:t>EUREX</a:t>
            </a:r>
          </a:p>
        </p:txBody>
      </p:sp>
      <p:sp>
        <p:nvSpPr>
          <p:cNvPr id="38" name="Rectangle 37">
            <a:extLst>
              <a:ext uri="{FF2B5EF4-FFF2-40B4-BE49-F238E27FC236}">
                <a16:creationId xmlns:a16="http://schemas.microsoft.com/office/drawing/2014/main" id="{C34895AB-7E2A-42A8-B29E-279AA479BE5D}"/>
              </a:ext>
            </a:extLst>
          </p:cNvPr>
          <p:cNvSpPr/>
          <p:nvPr/>
        </p:nvSpPr>
        <p:spPr>
          <a:xfrm>
            <a:off x="9819987" y="2405347"/>
            <a:ext cx="1658769" cy="201168"/>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b="1"/>
              <a:t>CME</a:t>
            </a:r>
          </a:p>
        </p:txBody>
      </p:sp>
      <p:sp>
        <p:nvSpPr>
          <p:cNvPr id="39" name="TextBox 38">
            <a:extLst>
              <a:ext uri="{FF2B5EF4-FFF2-40B4-BE49-F238E27FC236}">
                <a16:creationId xmlns:a16="http://schemas.microsoft.com/office/drawing/2014/main" id="{9BA8E358-0676-4AC9-AE39-03415595921A}"/>
              </a:ext>
            </a:extLst>
          </p:cNvPr>
          <p:cNvSpPr txBox="1"/>
          <p:nvPr/>
        </p:nvSpPr>
        <p:spPr>
          <a:xfrm>
            <a:off x="2322475" y="2644897"/>
            <a:ext cx="1625241" cy="743671"/>
          </a:xfrm>
          <a:prstGeom prst="rect">
            <a:avLst/>
          </a:prstGeom>
          <a:noFill/>
        </p:spPr>
        <p:txBody>
          <a:bodyPr wrap="square" lIns="0" tIns="0" rIns="0" bIns="0" rtlCol="0">
            <a:noAutofit/>
          </a:bodyPr>
          <a:lstStyle/>
          <a:p>
            <a:pPr algn="ctr"/>
            <a:r>
              <a:rPr lang="en-US" sz="1400"/>
              <a:t>12% YTD increase in VSTOXX related volumes 21v20</a:t>
            </a:r>
            <a:r>
              <a:rPr lang="en-US" sz="1400" baseline="30000"/>
              <a:t>2</a:t>
            </a:r>
          </a:p>
        </p:txBody>
      </p:sp>
      <p:sp>
        <p:nvSpPr>
          <p:cNvPr id="41" name="TextBox 40">
            <a:extLst>
              <a:ext uri="{FF2B5EF4-FFF2-40B4-BE49-F238E27FC236}">
                <a16:creationId xmlns:a16="http://schemas.microsoft.com/office/drawing/2014/main" id="{CC985D8E-FA0A-47DB-98D4-79C39D349D18}"/>
              </a:ext>
            </a:extLst>
          </p:cNvPr>
          <p:cNvSpPr txBox="1"/>
          <p:nvPr/>
        </p:nvSpPr>
        <p:spPr>
          <a:xfrm>
            <a:off x="9836750" y="2626598"/>
            <a:ext cx="1625241" cy="796716"/>
          </a:xfrm>
          <a:prstGeom prst="rect">
            <a:avLst/>
          </a:prstGeom>
          <a:noFill/>
        </p:spPr>
        <p:txBody>
          <a:bodyPr wrap="square" lIns="0" tIns="0" rIns="0" bIns="0" rtlCol="0">
            <a:noAutofit/>
          </a:bodyPr>
          <a:lstStyle/>
          <a:p>
            <a:pPr algn="ctr"/>
            <a:r>
              <a:rPr lang="en-US" sz="1400"/>
              <a:t>133% YTD increase in VOLQ underlying volumes 21v20</a:t>
            </a:r>
            <a:endParaRPr lang="en-US" sz="1400" baseline="30000"/>
          </a:p>
        </p:txBody>
      </p:sp>
    </p:spTree>
    <p:extLst>
      <p:ext uri="{BB962C8B-B14F-4D97-AF65-F5344CB8AC3E}">
        <p14:creationId xmlns:p14="http://schemas.microsoft.com/office/powerpoint/2010/main" val="153337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233F7-362C-43D5-B30E-7E95D45EEF05}"/>
              </a:ext>
            </a:extLst>
          </p:cNvPr>
          <p:cNvSpPr>
            <a:spLocks noGrp="1"/>
          </p:cNvSpPr>
          <p:nvPr>
            <p:ph type="title"/>
          </p:nvPr>
        </p:nvSpPr>
        <p:spPr>
          <a:xfrm>
            <a:off x="587376" y="368300"/>
            <a:ext cx="11017250" cy="648432"/>
          </a:xfrm>
        </p:spPr>
        <p:txBody>
          <a:bodyPr/>
          <a:lstStyle/>
          <a:p>
            <a:r>
              <a:rPr lang="en-US" dirty="0"/>
              <a:t>The Volatility Gap is Growing</a:t>
            </a:r>
          </a:p>
        </p:txBody>
      </p:sp>
      <p:sp>
        <p:nvSpPr>
          <p:cNvPr id="4" name="Date Placeholder 3">
            <a:extLst>
              <a:ext uri="{FF2B5EF4-FFF2-40B4-BE49-F238E27FC236}">
                <a16:creationId xmlns:a16="http://schemas.microsoft.com/office/drawing/2014/main" id="{7A3A92EF-B3D3-480C-A62F-C34185EED521}"/>
              </a:ext>
            </a:extLst>
          </p:cNvPr>
          <p:cNvSpPr>
            <a:spLocks noGrp="1"/>
          </p:cNvSpPr>
          <p:nvPr>
            <p:ph type="dt" sz="half" idx="10"/>
          </p:nvPr>
        </p:nvSpPr>
        <p:spPr/>
        <p:txBody>
          <a:bodyPr/>
          <a:lstStyle/>
          <a:p>
            <a:fld id="{664E4E50-649A-4382-919E-7BEF182EEEDC}" type="datetime1">
              <a:rPr lang="en-US" smtClean="0"/>
              <a:t>1/16/2022</a:t>
            </a:fld>
            <a:endParaRPr lang="en-US" dirty="0"/>
          </a:p>
        </p:txBody>
      </p:sp>
      <p:sp>
        <p:nvSpPr>
          <p:cNvPr id="5" name="Slide Number Placeholder 4">
            <a:extLst>
              <a:ext uri="{FF2B5EF4-FFF2-40B4-BE49-F238E27FC236}">
                <a16:creationId xmlns:a16="http://schemas.microsoft.com/office/drawing/2014/main" id="{F5C4D6D1-8968-439C-A660-72603CED922C}"/>
              </a:ext>
            </a:extLst>
          </p:cNvPr>
          <p:cNvSpPr>
            <a:spLocks noGrp="1"/>
          </p:cNvSpPr>
          <p:nvPr>
            <p:ph type="sldNum" sz="quarter" idx="11"/>
          </p:nvPr>
        </p:nvSpPr>
        <p:spPr/>
        <p:txBody>
          <a:bodyPr/>
          <a:lstStyle/>
          <a:p>
            <a:fld id="{62CB3E74-FC4B-418A-B5F6-72ED80208EB2}" type="slidenum">
              <a:rPr lang="en-US" smtClean="0"/>
              <a:pPr/>
              <a:t>6</a:t>
            </a:fld>
            <a:endParaRPr lang="en-US" dirty="0"/>
          </a:p>
        </p:txBody>
      </p:sp>
      <p:sp>
        <p:nvSpPr>
          <p:cNvPr id="6" name="Rectangle 5">
            <a:extLst>
              <a:ext uri="{FF2B5EF4-FFF2-40B4-BE49-F238E27FC236}">
                <a16:creationId xmlns:a16="http://schemas.microsoft.com/office/drawing/2014/main" id="{91E19BB3-AB1A-4D01-A3E0-D03645989E72}"/>
              </a:ext>
            </a:extLst>
          </p:cNvPr>
          <p:cNvSpPr/>
          <p:nvPr/>
        </p:nvSpPr>
        <p:spPr>
          <a:xfrm>
            <a:off x="587376" y="3036700"/>
            <a:ext cx="11027409" cy="163997"/>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b="1" dirty="0"/>
              <a:t>Graphical Representation</a:t>
            </a:r>
          </a:p>
        </p:txBody>
      </p:sp>
      <p:sp>
        <p:nvSpPr>
          <p:cNvPr id="9" name="Content Placeholder 2">
            <a:extLst>
              <a:ext uri="{FF2B5EF4-FFF2-40B4-BE49-F238E27FC236}">
                <a16:creationId xmlns:a16="http://schemas.microsoft.com/office/drawing/2014/main" id="{52F7D020-49C4-493D-964D-E17958F714EC}"/>
              </a:ext>
            </a:extLst>
          </p:cNvPr>
          <p:cNvSpPr txBox="1">
            <a:spLocks/>
          </p:cNvSpPr>
          <p:nvPr>
            <p:custDataLst>
              <p:tags r:id="rId1"/>
            </p:custDataLst>
          </p:nvPr>
        </p:nvSpPr>
        <p:spPr bwMode="gray">
          <a:xfrm>
            <a:off x="2253731" y="1223756"/>
            <a:ext cx="9361054" cy="894271"/>
          </a:xfrm>
          <a:prstGeom prst="rect">
            <a:avLst/>
          </a:prstGeom>
        </p:spPr>
        <p:txBody>
          <a:bodyPr vert="horz" lIns="0" tIns="0" rIns="0" bIns="0" rtlCol="0" anchor="t" anchorCtr="0">
            <a:noAutofit/>
          </a:bodyPr>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171450" indent="-171450" defTabSz="249238" fontAlgn="base">
              <a:lnSpc>
                <a:spcPct val="100000"/>
              </a:lnSpc>
              <a:spcBef>
                <a:spcPct val="0"/>
              </a:spcBef>
              <a:spcAft>
                <a:spcPct val="0"/>
              </a:spcAft>
              <a:defRPr/>
            </a:pPr>
            <a:r>
              <a:rPr lang="en-US" sz="1400" kern="0" dirty="0">
                <a:solidFill>
                  <a:schemeClr val="dk1"/>
                </a:solidFill>
              </a:rPr>
              <a:t>In the post covid world we have seen a growing gap between implied and realized volatility in global equity indices.</a:t>
            </a:r>
          </a:p>
          <a:p>
            <a:pPr marL="171450" indent="-171450" defTabSz="249238" fontAlgn="base">
              <a:lnSpc>
                <a:spcPct val="100000"/>
              </a:lnSpc>
              <a:spcBef>
                <a:spcPct val="0"/>
              </a:spcBef>
              <a:spcAft>
                <a:spcPct val="0"/>
              </a:spcAft>
              <a:defRPr/>
            </a:pPr>
            <a:r>
              <a:rPr lang="en-US" sz="1400" kern="0" dirty="0">
                <a:solidFill>
                  <a:schemeClr val="dk1"/>
                </a:solidFill>
              </a:rPr>
              <a:t>Record level spreads have been noticed in most, if not all benchmark products during the period 2020-2021</a:t>
            </a:r>
          </a:p>
          <a:p>
            <a:pPr marL="171450" indent="-171450" defTabSz="249238" fontAlgn="base">
              <a:lnSpc>
                <a:spcPct val="100000"/>
              </a:lnSpc>
              <a:spcBef>
                <a:spcPct val="0"/>
              </a:spcBef>
              <a:spcAft>
                <a:spcPct val="0"/>
              </a:spcAft>
              <a:defRPr/>
            </a:pPr>
            <a:r>
              <a:rPr lang="en-US" sz="1400" kern="0" dirty="0">
                <a:solidFill>
                  <a:schemeClr val="dk1"/>
                </a:solidFill>
              </a:rPr>
              <a:t>At the same time Volumes YTD in Equity Index Futures are globally significantly smaller comparing to the same period in 2020</a:t>
            </a:r>
          </a:p>
          <a:p>
            <a:pPr marL="171450" indent="-171450" defTabSz="249238" fontAlgn="base">
              <a:lnSpc>
                <a:spcPct val="100000"/>
              </a:lnSpc>
              <a:spcBef>
                <a:spcPct val="0"/>
              </a:spcBef>
              <a:spcAft>
                <a:spcPct val="0"/>
              </a:spcAft>
              <a:defRPr/>
            </a:pPr>
            <a:endParaRPr lang="en-US" sz="1400" kern="0" dirty="0">
              <a:solidFill>
                <a:schemeClr val="dk1"/>
              </a:solidFill>
            </a:endParaRPr>
          </a:p>
        </p:txBody>
      </p:sp>
      <p:sp>
        <p:nvSpPr>
          <p:cNvPr id="10" name="Rectangle 9">
            <a:extLst>
              <a:ext uri="{FF2B5EF4-FFF2-40B4-BE49-F238E27FC236}">
                <a16:creationId xmlns:a16="http://schemas.microsoft.com/office/drawing/2014/main" id="{B1DE9265-A4E4-402F-92EE-2E30981FE719}"/>
              </a:ext>
            </a:extLst>
          </p:cNvPr>
          <p:cNvSpPr/>
          <p:nvPr/>
        </p:nvSpPr>
        <p:spPr>
          <a:xfrm>
            <a:off x="577215" y="1223756"/>
            <a:ext cx="1512181" cy="894271"/>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400" b="1" dirty="0"/>
              <a:t>Background</a:t>
            </a:r>
          </a:p>
        </p:txBody>
      </p:sp>
      <p:sp>
        <p:nvSpPr>
          <p:cNvPr id="11" name="Rectangle 10">
            <a:extLst>
              <a:ext uri="{FF2B5EF4-FFF2-40B4-BE49-F238E27FC236}">
                <a16:creationId xmlns:a16="http://schemas.microsoft.com/office/drawing/2014/main" id="{52313438-CB48-43BA-AEA9-7938F575A4DB}"/>
              </a:ext>
            </a:extLst>
          </p:cNvPr>
          <p:cNvSpPr/>
          <p:nvPr/>
        </p:nvSpPr>
        <p:spPr>
          <a:xfrm>
            <a:off x="577215" y="2239464"/>
            <a:ext cx="1512181" cy="603755"/>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400" b="1" dirty="0"/>
              <a:t>Volumes YTD 21v20</a:t>
            </a:r>
          </a:p>
        </p:txBody>
      </p:sp>
      <p:sp>
        <p:nvSpPr>
          <p:cNvPr id="15" name="Rectangle 14">
            <a:extLst>
              <a:ext uri="{FF2B5EF4-FFF2-40B4-BE49-F238E27FC236}">
                <a16:creationId xmlns:a16="http://schemas.microsoft.com/office/drawing/2014/main" id="{286B19C4-DBCD-4D3C-BE1B-4EA84FD8250F}"/>
              </a:ext>
            </a:extLst>
          </p:cNvPr>
          <p:cNvSpPr/>
          <p:nvPr/>
        </p:nvSpPr>
        <p:spPr>
          <a:xfrm>
            <a:off x="2226363" y="2246506"/>
            <a:ext cx="1658769" cy="201945"/>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b="1" dirty="0"/>
              <a:t>EUREX</a:t>
            </a:r>
          </a:p>
        </p:txBody>
      </p:sp>
      <p:sp>
        <p:nvSpPr>
          <p:cNvPr id="16" name="TextBox 15">
            <a:extLst>
              <a:ext uri="{FF2B5EF4-FFF2-40B4-BE49-F238E27FC236}">
                <a16:creationId xmlns:a16="http://schemas.microsoft.com/office/drawing/2014/main" id="{26F867CA-7FF8-42D6-B5EB-0225F8362AD4}"/>
              </a:ext>
            </a:extLst>
          </p:cNvPr>
          <p:cNvSpPr txBox="1"/>
          <p:nvPr/>
        </p:nvSpPr>
        <p:spPr>
          <a:xfrm>
            <a:off x="1975401" y="2452066"/>
            <a:ext cx="2160695" cy="603755"/>
          </a:xfrm>
          <a:prstGeom prst="rect">
            <a:avLst/>
          </a:prstGeom>
          <a:noFill/>
        </p:spPr>
        <p:txBody>
          <a:bodyPr wrap="square" lIns="0" tIns="0" rIns="0" bIns="0" rtlCol="0">
            <a:noAutofit/>
          </a:bodyPr>
          <a:lstStyle/>
          <a:p>
            <a:pPr algn="ctr"/>
            <a:r>
              <a:rPr lang="en-US" sz="1400" dirty="0"/>
              <a:t>DAX -40%</a:t>
            </a:r>
          </a:p>
          <a:p>
            <a:pPr algn="ctr"/>
            <a:r>
              <a:rPr lang="en-US" sz="1400" dirty="0"/>
              <a:t>ESX50 -33%</a:t>
            </a:r>
          </a:p>
        </p:txBody>
      </p:sp>
      <p:sp>
        <p:nvSpPr>
          <p:cNvPr id="19" name="Rectangle 18">
            <a:extLst>
              <a:ext uri="{FF2B5EF4-FFF2-40B4-BE49-F238E27FC236}">
                <a16:creationId xmlns:a16="http://schemas.microsoft.com/office/drawing/2014/main" id="{8D5C6C15-3F28-427A-86C6-FF5D4FE8032A}"/>
              </a:ext>
            </a:extLst>
          </p:cNvPr>
          <p:cNvSpPr/>
          <p:nvPr/>
        </p:nvSpPr>
        <p:spPr>
          <a:xfrm>
            <a:off x="4664005" y="2247989"/>
            <a:ext cx="1658769" cy="201168"/>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b="1" dirty="0"/>
              <a:t>CME</a:t>
            </a:r>
          </a:p>
        </p:txBody>
      </p:sp>
      <p:sp>
        <p:nvSpPr>
          <p:cNvPr id="21" name="Rectangle 20">
            <a:extLst>
              <a:ext uri="{FF2B5EF4-FFF2-40B4-BE49-F238E27FC236}">
                <a16:creationId xmlns:a16="http://schemas.microsoft.com/office/drawing/2014/main" id="{D61E44E0-2D98-4FF7-8793-4BC2FE7CC1F3}"/>
              </a:ext>
            </a:extLst>
          </p:cNvPr>
          <p:cNvSpPr/>
          <p:nvPr/>
        </p:nvSpPr>
        <p:spPr>
          <a:xfrm>
            <a:off x="7190031" y="2239861"/>
            <a:ext cx="1658769" cy="201168"/>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b="1" dirty="0"/>
              <a:t>EURONEXT</a:t>
            </a:r>
          </a:p>
        </p:txBody>
      </p:sp>
      <p:sp>
        <p:nvSpPr>
          <p:cNvPr id="20" name="TextBox 19">
            <a:extLst>
              <a:ext uri="{FF2B5EF4-FFF2-40B4-BE49-F238E27FC236}">
                <a16:creationId xmlns:a16="http://schemas.microsoft.com/office/drawing/2014/main" id="{623F0C4B-6D82-4C5E-89E0-F662EA8AB7E5}"/>
              </a:ext>
            </a:extLst>
          </p:cNvPr>
          <p:cNvSpPr txBox="1"/>
          <p:nvPr/>
        </p:nvSpPr>
        <p:spPr>
          <a:xfrm>
            <a:off x="4415069" y="2432945"/>
            <a:ext cx="2160695" cy="603755"/>
          </a:xfrm>
          <a:prstGeom prst="rect">
            <a:avLst/>
          </a:prstGeom>
          <a:noFill/>
        </p:spPr>
        <p:txBody>
          <a:bodyPr wrap="square" lIns="0" tIns="0" rIns="0" bIns="0" rtlCol="0">
            <a:noAutofit/>
          </a:bodyPr>
          <a:lstStyle/>
          <a:p>
            <a:pPr algn="ctr"/>
            <a:r>
              <a:rPr lang="en-US" sz="1400" dirty="0"/>
              <a:t>S&amp;P500 -19.3%</a:t>
            </a:r>
          </a:p>
          <a:p>
            <a:pPr algn="ctr"/>
            <a:r>
              <a:rPr lang="en-US" sz="1400" dirty="0"/>
              <a:t>NSDQ100 -9.6%</a:t>
            </a:r>
            <a:r>
              <a:rPr lang="en-US" sz="1400" baseline="30000" dirty="0"/>
              <a:t>1</a:t>
            </a:r>
          </a:p>
        </p:txBody>
      </p:sp>
      <p:sp>
        <p:nvSpPr>
          <p:cNvPr id="22" name="TextBox 21">
            <a:extLst>
              <a:ext uri="{FF2B5EF4-FFF2-40B4-BE49-F238E27FC236}">
                <a16:creationId xmlns:a16="http://schemas.microsoft.com/office/drawing/2014/main" id="{2E0DD6C3-9314-4304-BCC3-40097D8A86E5}"/>
              </a:ext>
            </a:extLst>
          </p:cNvPr>
          <p:cNvSpPr txBox="1"/>
          <p:nvPr/>
        </p:nvSpPr>
        <p:spPr>
          <a:xfrm>
            <a:off x="6995737" y="2445221"/>
            <a:ext cx="2055467" cy="603755"/>
          </a:xfrm>
          <a:prstGeom prst="rect">
            <a:avLst/>
          </a:prstGeom>
          <a:noFill/>
        </p:spPr>
        <p:txBody>
          <a:bodyPr wrap="square" lIns="0" tIns="0" rIns="0" bIns="0" rtlCol="0">
            <a:noAutofit/>
          </a:bodyPr>
          <a:lstStyle/>
          <a:p>
            <a:pPr algn="ctr"/>
            <a:r>
              <a:rPr lang="en-US" sz="1400" dirty="0"/>
              <a:t>Equity Index Futures Segment -15%</a:t>
            </a:r>
            <a:r>
              <a:rPr lang="en-US" sz="1400" baseline="30000" dirty="0"/>
              <a:t>2</a:t>
            </a:r>
          </a:p>
        </p:txBody>
      </p:sp>
      <p:sp>
        <p:nvSpPr>
          <p:cNvPr id="23" name="Rectangle 22">
            <a:extLst>
              <a:ext uri="{FF2B5EF4-FFF2-40B4-BE49-F238E27FC236}">
                <a16:creationId xmlns:a16="http://schemas.microsoft.com/office/drawing/2014/main" id="{4F093F7A-D488-4274-9131-697CF0CDD5C1}"/>
              </a:ext>
            </a:extLst>
          </p:cNvPr>
          <p:cNvSpPr/>
          <p:nvPr/>
        </p:nvSpPr>
        <p:spPr>
          <a:xfrm>
            <a:off x="9716058" y="2252054"/>
            <a:ext cx="1658769" cy="201168"/>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b="1" dirty="0"/>
              <a:t>ICE</a:t>
            </a:r>
          </a:p>
        </p:txBody>
      </p:sp>
      <p:sp>
        <p:nvSpPr>
          <p:cNvPr id="24" name="TextBox 23">
            <a:extLst>
              <a:ext uri="{FF2B5EF4-FFF2-40B4-BE49-F238E27FC236}">
                <a16:creationId xmlns:a16="http://schemas.microsoft.com/office/drawing/2014/main" id="{33D0DBFD-A730-4929-A207-4E14BC85BD89}"/>
              </a:ext>
            </a:extLst>
          </p:cNvPr>
          <p:cNvSpPr txBox="1"/>
          <p:nvPr/>
        </p:nvSpPr>
        <p:spPr>
          <a:xfrm>
            <a:off x="9471177" y="2432945"/>
            <a:ext cx="2160695" cy="603755"/>
          </a:xfrm>
          <a:prstGeom prst="rect">
            <a:avLst/>
          </a:prstGeom>
          <a:noFill/>
        </p:spPr>
        <p:txBody>
          <a:bodyPr wrap="square" lIns="0" tIns="0" rIns="0" bIns="0" rtlCol="0">
            <a:noAutofit/>
          </a:bodyPr>
          <a:lstStyle/>
          <a:p>
            <a:pPr algn="ctr"/>
            <a:r>
              <a:rPr lang="en-US" sz="1400" dirty="0"/>
              <a:t>Equity Index Futures</a:t>
            </a:r>
            <a:br>
              <a:rPr lang="en-US" sz="1400" dirty="0"/>
            </a:br>
            <a:r>
              <a:rPr lang="en-US" sz="1400" dirty="0"/>
              <a:t>Segment -16.6%</a:t>
            </a:r>
            <a:r>
              <a:rPr lang="de-DE" sz="1400" baseline="30000" dirty="0"/>
              <a:t>3</a:t>
            </a:r>
            <a:endParaRPr lang="en-US" sz="1400" dirty="0"/>
          </a:p>
        </p:txBody>
      </p:sp>
      <p:sp>
        <p:nvSpPr>
          <p:cNvPr id="25" name="TextBox 24">
            <a:extLst>
              <a:ext uri="{FF2B5EF4-FFF2-40B4-BE49-F238E27FC236}">
                <a16:creationId xmlns:a16="http://schemas.microsoft.com/office/drawing/2014/main" id="{21D84504-21D3-4983-891B-77FD4D4CC710}"/>
              </a:ext>
            </a:extLst>
          </p:cNvPr>
          <p:cNvSpPr txBox="1"/>
          <p:nvPr/>
        </p:nvSpPr>
        <p:spPr>
          <a:xfrm>
            <a:off x="712668" y="6575150"/>
            <a:ext cx="4780721" cy="282850"/>
          </a:xfrm>
          <a:prstGeom prst="rect">
            <a:avLst/>
          </a:prstGeom>
          <a:noFill/>
        </p:spPr>
        <p:txBody>
          <a:bodyPr wrap="square" lIns="0" tIns="0" rIns="0" bIns="0" rtlCol="0">
            <a:noAutofit/>
          </a:bodyPr>
          <a:lstStyle/>
          <a:p>
            <a:pPr algn="l"/>
            <a:r>
              <a:rPr lang="de-DE" sz="800" dirty="0"/>
              <a:t>1 </a:t>
            </a:r>
            <a:r>
              <a:rPr lang="en-US" sz="800" dirty="0">
                <a:hlinkClick r:id="rId4"/>
              </a:rPr>
              <a:t>Volume &amp; Open Interest Reports (cmegroup.com)</a:t>
            </a:r>
            <a:r>
              <a:rPr lang="en-US" sz="800" dirty="0"/>
              <a:t> 2 </a:t>
            </a:r>
            <a:r>
              <a:rPr lang="en-US" sz="800" dirty="0">
                <a:hlinkClick r:id="rId5"/>
              </a:rPr>
              <a:t>Euronext announces volumes for October 2021 | euronext.com</a:t>
            </a:r>
            <a:r>
              <a:rPr lang="en-US" sz="800" dirty="0"/>
              <a:t> 3 </a:t>
            </a:r>
            <a:r>
              <a:rPr lang="en-US" sz="800" dirty="0">
                <a:hlinkClick r:id="rId6"/>
              </a:rPr>
              <a:t>ICE Report Center - Data (theice.com)</a:t>
            </a:r>
            <a:endParaRPr lang="en-US" sz="800" dirty="0"/>
          </a:p>
        </p:txBody>
      </p:sp>
      <p:sp>
        <p:nvSpPr>
          <p:cNvPr id="42" name="Rectangle 41">
            <a:extLst>
              <a:ext uri="{FF2B5EF4-FFF2-40B4-BE49-F238E27FC236}">
                <a16:creationId xmlns:a16="http://schemas.microsoft.com/office/drawing/2014/main" id="{F73B37BA-4F6E-4F40-9D68-0995B9B36D2D}"/>
              </a:ext>
            </a:extLst>
          </p:cNvPr>
          <p:cNvSpPr/>
          <p:nvPr/>
        </p:nvSpPr>
        <p:spPr>
          <a:xfrm>
            <a:off x="1424346" y="3232601"/>
            <a:ext cx="1658769" cy="163997"/>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b="1" dirty="0"/>
              <a:t>DAX</a:t>
            </a:r>
          </a:p>
        </p:txBody>
      </p:sp>
      <p:sp>
        <p:nvSpPr>
          <p:cNvPr id="43" name="Rectangle 42">
            <a:extLst>
              <a:ext uri="{FF2B5EF4-FFF2-40B4-BE49-F238E27FC236}">
                <a16:creationId xmlns:a16="http://schemas.microsoft.com/office/drawing/2014/main" id="{6865B833-97F7-4120-9EEE-04E32A9DECD3}"/>
              </a:ext>
            </a:extLst>
          </p:cNvPr>
          <p:cNvSpPr/>
          <p:nvPr/>
        </p:nvSpPr>
        <p:spPr>
          <a:xfrm>
            <a:off x="5243810" y="3230181"/>
            <a:ext cx="1658769" cy="163997"/>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b="1" dirty="0"/>
              <a:t>ESX50</a:t>
            </a:r>
          </a:p>
        </p:txBody>
      </p:sp>
      <p:sp>
        <p:nvSpPr>
          <p:cNvPr id="44" name="Rectangle 43">
            <a:extLst>
              <a:ext uri="{FF2B5EF4-FFF2-40B4-BE49-F238E27FC236}">
                <a16:creationId xmlns:a16="http://schemas.microsoft.com/office/drawing/2014/main" id="{611688B4-5251-4442-AFDB-DCE1493C2A16}"/>
              </a:ext>
            </a:extLst>
          </p:cNvPr>
          <p:cNvSpPr/>
          <p:nvPr/>
        </p:nvSpPr>
        <p:spPr>
          <a:xfrm>
            <a:off x="9063274" y="3230181"/>
            <a:ext cx="1658769" cy="163997"/>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b="1" dirty="0"/>
              <a:t>S&amp;P500</a:t>
            </a:r>
          </a:p>
        </p:txBody>
      </p:sp>
      <p:pic>
        <p:nvPicPr>
          <p:cNvPr id="46" name="Picture 45">
            <a:extLst>
              <a:ext uri="{FF2B5EF4-FFF2-40B4-BE49-F238E27FC236}">
                <a16:creationId xmlns:a16="http://schemas.microsoft.com/office/drawing/2014/main" id="{FDEE3F62-A675-439C-9057-0714E2F50B9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9377" y="3409873"/>
            <a:ext cx="3666719" cy="1737360"/>
          </a:xfrm>
          <a:prstGeom prst="rect">
            <a:avLst/>
          </a:prstGeom>
        </p:spPr>
      </p:pic>
      <p:pic>
        <p:nvPicPr>
          <p:cNvPr id="48" name="Picture 47">
            <a:extLst>
              <a:ext uri="{FF2B5EF4-FFF2-40B4-BE49-F238E27FC236}">
                <a16:creationId xmlns:a16="http://schemas.microsoft.com/office/drawing/2014/main" id="{E35CC729-EC20-445E-A012-2C27FC17924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39834" y="3423154"/>
            <a:ext cx="3666719" cy="1737360"/>
          </a:xfrm>
          <a:prstGeom prst="rect">
            <a:avLst/>
          </a:prstGeom>
        </p:spPr>
      </p:pic>
      <p:pic>
        <p:nvPicPr>
          <p:cNvPr id="50" name="Picture 49">
            <a:extLst>
              <a:ext uri="{FF2B5EF4-FFF2-40B4-BE49-F238E27FC236}">
                <a16:creationId xmlns:a16="http://schemas.microsoft.com/office/drawing/2014/main" id="{783F9E2B-9A37-4797-831E-8015DE90BD0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55627" y="3429000"/>
            <a:ext cx="3666719" cy="1737360"/>
          </a:xfrm>
          <a:prstGeom prst="rect">
            <a:avLst/>
          </a:prstGeom>
        </p:spPr>
      </p:pic>
      <p:sp>
        <p:nvSpPr>
          <p:cNvPr id="52" name="TextBox 51">
            <a:extLst>
              <a:ext uri="{FF2B5EF4-FFF2-40B4-BE49-F238E27FC236}">
                <a16:creationId xmlns:a16="http://schemas.microsoft.com/office/drawing/2014/main" id="{2F2D94CC-67AA-45CD-888B-945479AA269B}"/>
              </a:ext>
            </a:extLst>
          </p:cNvPr>
          <p:cNvSpPr txBox="1"/>
          <p:nvPr/>
        </p:nvSpPr>
        <p:spPr>
          <a:xfrm>
            <a:off x="587376" y="5247861"/>
            <a:ext cx="11044496" cy="1089362"/>
          </a:xfrm>
          <a:prstGeom prst="rect">
            <a:avLst/>
          </a:prstGeom>
          <a:noFill/>
        </p:spPr>
        <p:txBody>
          <a:bodyPr wrap="square" lIns="0" tIns="0" rIns="0" bIns="0" rtlCol="0">
            <a:noAutofit/>
          </a:bodyPr>
          <a:lstStyle/>
          <a:p>
            <a:pPr marL="285750" indent="-285750" algn="l">
              <a:buFont typeface="Wingdings" panose="05000000000000000000" pitchFamily="2" charset="2"/>
              <a:buChar char="§"/>
            </a:pPr>
            <a:r>
              <a:rPr lang="en-US" sz="1400" dirty="0"/>
              <a:t>The implied and realized volatility pairs (each pair is a trading day) that are above the average long term trend line are almost exclusively from the last two years, when a shift in paradigm was first observed and the gap started growing.</a:t>
            </a:r>
          </a:p>
          <a:p>
            <a:pPr marL="285750" indent="-285750" algn="l">
              <a:buFont typeface="Wingdings" panose="05000000000000000000" pitchFamily="2" charset="2"/>
              <a:buChar char="§"/>
            </a:pPr>
            <a:r>
              <a:rPr lang="en-US" sz="1400" dirty="0"/>
              <a:t>A similar pattern can be observed in virtually every Equity Index and more examples can be found in Appendix I</a:t>
            </a:r>
          </a:p>
          <a:p>
            <a:pPr marL="285750" indent="-285750" algn="l">
              <a:buFont typeface="Wingdings" panose="05000000000000000000" pitchFamily="2" charset="2"/>
              <a:buChar char="§"/>
            </a:pPr>
            <a:r>
              <a:rPr lang="en-US" sz="1400" dirty="0"/>
              <a:t>Since the usage of derivatives on Equity Indices is closely related to volatility expectations as well as the maintenance of a portfolio when the volatility realizes, </a:t>
            </a:r>
            <a:r>
              <a:rPr lang="en-US" sz="1400" dirty="0">
                <a:solidFill>
                  <a:schemeClr val="accent1"/>
                </a:solidFill>
              </a:rPr>
              <a:t>can this growing gap in volatilities at least partially answer why volumes are falling ?</a:t>
            </a:r>
          </a:p>
        </p:txBody>
      </p:sp>
    </p:spTree>
    <p:extLst>
      <p:ext uri="{BB962C8B-B14F-4D97-AF65-F5344CB8AC3E}">
        <p14:creationId xmlns:p14="http://schemas.microsoft.com/office/powerpoint/2010/main" val="41587353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A0CA3DC-BFF6-4E4D-A999-6C4584846B5B}"/>
              </a:ext>
            </a:extLst>
          </p:cNvPr>
          <p:cNvSpPr>
            <a:spLocks noGrp="1"/>
          </p:cNvSpPr>
          <p:nvPr>
            <p:ph type="sldNum" sz="quarter" idx="11"/>
          </p:nvPr>
        </p:nvSpPr>
        <p:spPr/>
        <p:txBody>
          <a:bodyPr/>
          <a:lstStyle/>
          <a:p>
            <a:fld id="{62CB3E74-FC4B-418A-B5F6-72ED80208EB2}" type="slidenum">
              <a:rPr lang="en-US" noProof="0" smtClean="0"/>
              <a:pPr/>
              <a:t>7</a:t>
            </a:fld>
            <a:endParaRPr lang="en-US" noProof="0"/>
          </a:p>
        </p:txBody>
      </p:sp>
      <p:sp>
        <p:nvSpPr>
          <p:cNvPr id="8" name="Title 1">
            <a:extLst>
              <a:ext uri="{FF2B5EF4-FFF2-40B4-BE49-F238E27FC236}">
                <a16:creationId xmlns:a16="http://schemas.microsoft.com/office/drawing/2014/main" id="{E7A962CA-73E8-4815-9051-7435E7093762}"/>
              </a:ext>
            </a:extLst>
          </p:cNvPr>
          <p:cNvSpPr txBox="1">
            <a:spLocks/>
          </p:cNvSpPr>
          <p:nvPr/>
        </p:nvSpPr>
        <p:spPr bwMode="gray">
          <a:xfrm>
            <a:off x="587376" y="368300"/>
            <a:ext cx="11017250" cy="1014186"/>
          </a:xfrm>
          <a:prstGeom prst="rect">
            <a:avLst/>
          </a:prstGeom>
        </p:spPr>
        <p:txBody>
          <a:bodyPr vert="horz" lIns="0" tIns="0" rIns="0" bIns="0" rtlCol="0" anchor="t" anchorCtr="0">
            <a:noAutofit/>
          </a:bodyPr>
          <a:lstStyle>
            <a:lvl1pPr algn="l" defTabSz="914400" rtl="0" eaLnBrk="1" latinLnBrk="0" hangingPunct="1">
              <a:lnSpc>
                <a:spcPct val="110000"/>
              </a:lnSpc>
              <a:spcBef>
                <a:spcPct val="0"/>
              </a:spcBef>
              <a:buNone/>
              <a:defRPr sz="3000" b="1" kern="1200">
                <a:solidFill>
                  <a:schemeClr val="tx1"/>
                </a:solidFill>
                <a:latin typeface="+mj-lt"/>
                <a:ea typeface="+mj-ea"/>
                <a:cs typeface="+mj-cs"/>
              </a:defRPr>
            </a:lvl1pPr>
          </a:lstStyle>
          <a:p>
            <a:r>
              <a:rPr lang="en-US" dirty="0"/>
              <a:t>Our Approach</a:t>
            </a:r>
          </a:p>
          <a:p>
            <a:r>
              <a:rPr lang="en-US" sz="1800" b="0" i="1" dirty="0"/>
              <a:t>Volatility Preparation</a:t>
            </a:r>
          </a:p>
          <a:p>
            <a:endParaRPr lang="en-US" sz="1800" i="1" dirty="0"/>
          </a:p>
        </p:txBody>
      </p:sp>
      <p:sp>
        <p:nvSpPr>
          <p:cNvPr id="3" name="Content Placeholder 2">
            <a:extLst>
              <a:ext uri="{FF2B5EF4-FFF2-40B4-BE49-F238E27FC236}">
                <a16:creationId xmlns:a16="http://schemas.microsoft.com/office/drawing/2014/main" id="{DB7B816B-39AC-4D9A-91EA-116705A7C916}"/>
              </a:ext>
            </a:extLst>
          </p:cNvPr>
          <p:cNvSpPr>
            <a:spLocks noGrp="1"/>
          </p:cNvSpPr>
          <p:nvPr>
            <p:ph idx="1"/>
          </p:nvPr>
        </p:nvSpPr>
        <p:spPr>
          <a:xfrm>
            <a:off x="587374" y="1293752"/>
            <a:ext cx="11017249" cy="1677449"/>
          </a:xfrm>
        </p:spPr>
        <p:txBody>
          <a:bodyPr/>
          <a:lstStyle/>
          <a:p>
            <a:pPr marL="285750" indent="-285750">
              <a:buFont typeface="Wingdings" panose="05000000000000000000" pitchFamily="2" charset="2"/>
              <a:buChar char="§"/>
            </a:pPr>
            <a:r>
              <a:rPr lang="en-US" sz="1400" dirty="0"/>
              <a:t>Realized volatility was reconstructed from 15sec price data on ESX50 by separate calculations for overnight</a:t>
            </a:r>
            <a:r>
              <a:rPr lang="en-US" sz="1400" baseline="30000" dirty="0"/>
              <a:t>1</a:t>
            </a:r>
            <a:r>
              <a:rPr lang="en-US" sz="1400" dirty="0"/>
              <a:t> and intraday</a:t>
            </a:r>
            <a:r>
              <a:rPr lang="en-US" sz="1400" baseline="30000" dirty="0"/>
              <a:t>2</a:t>
            </a:r>
            <a:r>
              <a:rPr lang="en-US" sz="1400" dirty="0"/>
              <a:t> components</a:t>
            </a:r>
          </a:p>
          <a:p>
            <a:pPr marL="285750" indent="-285750">
              <a:buFont typeface="Wingdings" panose="05000000000000000000" pitchFamily="2" charset="2"/>
              <a:buChar char="§"/>
            </a:pPr>
            <a:r>
              <a:rPr lang="en-US" sz="1400" dirty="0"/>
              <a:t>VSTOXX was used as a proxy for implied volatility</a:t>
            </a:r>
          </a:p>
          <a:p>
            <a:pPr marL="285750" indent="-285750">
              <a:buFont typeface="Wingdings" panose="05000000000000000000" pitchFamily="2" charset="2"/>
              <a:buChar char="§"/>
            </a:pPr>
            <a:r>
              <a:rPr lang="en-US" sz="1400" dirty="0"/>
              <a:t>Other benchmark calculations were used to compare model outputs and determine how robust the results are (e.g. 30day historic volatility and Black-Scholes calculated implied volatility)</a:t>
            </a:r>
          </a:p>
          <a:p>
            <a:pPr marL="285750" indent="-285750">
              <a:buFont typeface="Wingdings" panose="05000000000000000000" pitchFamily="2" charset="2"/>
              <a:buChar char="§"/>
            </a:pPr>
            <a:r>
              <a:rPr lang="en-US" sz="1400" dirty="0"/>
              <a:t>Reconstructed volatility proved to be almost 3 times more precise in explaining volume according to R</a:t>
            </a:r>
            <a:r>
              <a:rPr lang="de-DE" sz="1400" baseline="30000" dirty="0"/>
              <a:t>2 </a:t>
            </a:r>
            <a:r>
              <a:rPr lang="de-DE" sz="1400" dirty="0"/>
              <a:t>and </a:t>
            </a:r>
            <a:r>
              <a:rPr lang="en-US" sz="1400" dirty="0"/>
              <a:t>informational capacity comparing to 30day historic volatility</a:t>
            </a:r>
          </a:p>
          <a:p>
            <a:pPr marL="285750" indent="-285750">
              <a:buFont typeface="Wingdings" panose="05000000000000000000" pitchFamily="2" charset="2"/>
              <a:buChar char="§"/>
            </a:pPr>
            <a:r>
              <a:rPr lang="en-US" sz="1400" dirty="0"/>
              <a:t>30day historic volatility is smoothed since it represents the average of last 30 days, containing less information, while ignoring intraday movements</a:t>
            </a:r>
          </a:p>
          <a:p>
            <a:endParaRPr lang="en-US" sz="1400" dirty="0"/>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r>
              <a:rPr lang="en-US" sz="1400" dirty="0"/>
              <a:t>	</a:t>
            </a:r>
          </a:p>
          <a:p>
            <a:endParaRPr lang="en-US" sz="1400" dirty="0"/>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15137BD5-EBCA-4ACE-A840-2240591C8627}"/>
                  </a:ext>
                </a:extLst>
              </p:cNvPr>
              <p:cNvSpPr txBox="1"/>
              <p:nvPr/>
            </p:nvSpPr>
            <p:spPr>
              <a:xfrm>
                <a:off x="754801" y="6568711"/>
                <a:ext cx="4780721" cy="282850"/>
              </a:xfrm>
              <a:prstGeom prst="rect">
                <a:avLst/>
              </a:prstGeom>
              <a:noFill/>
            </p:spPr>
            <p:txBody>
              <a:bodyPr wrap="square" lIns="0" tIns="0" rIns="0" bIns="0" rtlCol="0">
                <a:noAutofit/>
              </a:bodyPr>
              <a:lstStyle/>
              <a:p>
                <a:pPr algn="l"/>
                <a:r>
                  <a:rPr lang="de-DE" sz="800" dirty="0"/>
                  <a:t>1 </a:t>
                </a:r>
                <a:r>
                  <a:rPr lang="de-DE" sz="800" dirty="0" err="1"/>
                  <a:t>Squared</a:t>
                </a:r>
                <a:r>
                  <a:rPr lang="de-DE" sz="800" dirty="0"/>
                  <a:t> log </a:t>
                </a:r>
                <a:r>
                  <a:rPr lang="de-DE" sz="800" dirty="0" err="1"/>
                  <a:t>returns</a:t>
                </a:r>
                <a:r>
                  <a:rPr lang="de-DE" sz="800" dirty="0"/>
                  <a:t> </a:t>
                </a:r>
                <a:r>
                  <a:rPr lang="de-DE" sz="800" dirty="0" err="1"/>
                  <a:t>between</a:t>
                </a:r>
                <a:r>
                  <a:rPr lang="de-DE" sz="800" dirty="0"/>
                  <a:t> </a:t>
                </a:r>
                <a:r>
                  <a:rPr lang="de-DE" sz="800" dirty="0" err="1"/>
                  <a:t>close</a:t>
                </a:r>
                <a:r>
                  <a:rPr lang="de-DE" sz="800" dirty="0"/>
                  <a:t> on </a:t>
                </a:r>
                <a14:m>
                  <m:oMath xmlns:m="http://schemas.openxmlformats.org/officeDocument/2006/math">
                    <m:r>
                      <a:rPr lang="de-DE" sz="800" b="0" i="1" smtClean="0">
                        <a:latin typeface="Cambria Math" panose="02040503050406030204" pitchFamily="18" charset="0"/>
                      </a:rPr>
                      <m:t>𝑡</m:t>
                    </m:r>
                    <m:r>
                      <a:rPr lang="de-DE" sz="800" b="0" i="1" smtClean="0">
                        <a:latin typeface="Cambria Math" panose="02040503050406030204" pitchFamily="18" charset="0"/>
                      </a:rPr>
                      <m:t>−1</m:t>
                    </m:r>
                  </m:oMath>
                </a14:m>
                <a:r>
                  <a:rPr lang="de-DE" sz="800" dirty="0"/>
                  <a:t> and open on </a:t>
                </a:r>
                <a14:m>
                  <m:oMath xmlns:m="http://schemas.openxmlformats.org/officeDocument/2006/math">
                    <m:r>
                      <a:rPr lang="de-DE" sz="800" b="0" i="1" smtClean="0">
                        <a:latin typeface="Cambria Math" panose="02040503050406030204" pitchFamily="18" charset="0"/>
                      </a:rPr>
                      <m:t>𝑡</m:t>
                    </m:r>
                  </m:oMath>
                </a14:m>
                <a:endParaRPr lang="de-DE" sz="800" dirty="0"/>
              </a:p>
              <a:p>
                <a:pPr algn="l"/>
                <a:r>
                  <a:rPr lang="de-DE" sz="800" dirty="0"/>
                  <a:t>2 </a:t>
                </a:r>
                <a:r>
                  <a:rPr lang="de-DE" sz="800" dirty="0" err="1"/>
                  <a:t>Sum</a:t>
                </a:r>
                <a:r>
                  <a:rPr lang="de-DE" sz="800" dirty="0"/>
                  <a:t> </a:t>
                </a:r>
                <a:r>
                  <a:rPr lang="de-DE" sz="800" dirty="0" err="1"/>
                  <a:t>of</a:t>
                </a:r>
                <a:r>
                  <a:rPr lang="de-DE" sz="800" dirty="0"/>
                  <a:t> </a:t>
                </a:r>
                <a:r>
                  <a:rPr lang="de-DE" sz="800" dirty="0" err="1"/>
                  <a:t>five</a:t>
                </a:r>
                <a:r>
                  <a:rPr lang="de-DE" sz="800" dirty="0"/>
                  <a:t> </a:t>
                </a:r>
                <a:r>
                  <a:rPr lang="de-DE" sz="800" dirty="0" err="1"/>
                  <a:t>minute</a:t>
                </a:r>
                <a:r>
                  <a:rPr lang="de-DE" sz="800" dirty="0"/>
                  <a:t> </a:t>
                </a:r>
                <a:r>
                  <a:rPr lang="de-DE" sz="800" dirty="0" err="1"/>
                  <a:t>squared</a:t>
                </a:r>
                <a:r>
                  <a:rPr lang="de-DE" sz="800" dirty="0"/>
                  <a:t> log </a:t>
                </a:r>
                <a:r>
                  <a:rPr lang="de-DE" sz="800" dirty="0" err="1"/>
                  <a:t>returns</a:t>
                </a:r>
                <a:r>
                  <a:rPr lang="de-DE" sz="800" dirty="0"/>
                  <a:t> </a:t>
                </a:r>
                <a:r>
                  <a:rPr lang="de-DE" sz="800" dirty="0" err="1"/>
                  <a:t>during</a:t>
                </a:r>
                <a:r>
                  <a:rPr lang="de-DE" sz="800" dirty="0"/>
                  <a:t> </a:t>
                </a:r>
                <a:r>
                  <a:rPr lang="de-DE" sz="800" dirty="0" err="1"/>
                  <a:t>the</a:t>
                </a:r>
                <a:r>
                  <a:rPr lang="de-DE" sz="800" dirty="0"/>
                  <a:t> </a:t>
                </a:r>
                <a:r>
                  <a:rPr lang="de-DE" sz="800" dirty="0" err="1"/>
                  <a:t>trading</a:t>
                </a:r>
                <a:r>
                  <a:rPr lang="de-DE" sz="800" dirty="0"/>
                  <a:t> </a:t>
                </a:r>
                <a:r>
                  <a:rPr lang="de-DE" sz="800" dirty="0" err="1"/>
                  <a:t>day</a:t>
                </a:r>
                <a:r>
                  <a:rPr lang="de-DE" sz="800" dirty="0"/>
                  <a:t> </a:t>
                </a:r>
                <a14:m>
                  <m:oMath xmlns:m="http://schemas.openxmlformats.org/officeDocument/2006/math">
                    <m:r>
                      <a:rPr lang="de-DE" sz="800" b="0" i="1" smtClean="0">
                        <a:latin typeface="Cambria Math" panose="02040503050406030204" pitchFamily="18" charset="0"/>
                      </a:rPr>
                      <m:t>𝑡</m:t>
                    </m:r>
                  </m:oMath>
                </a14:m>
                <a:endParaRPr lang="en-US" sz="800" dirty="0"/>
              </a:p>
            </p:txBody>
          </p:sp>
        </mc:Choice>
        <mc:Fallback xmlns="">
          <p:sp>
            <p:nvSpPr>
              <p:cNvPr id="6" name="TextBox 5">
                <a:extLst>
                  <a:ext uri="{FF2B5EF4-FFF2-40B4-BE49-F238E27FC236}">
                    <a16:creationId xmlns:a16="http://schemas.microsoft.com/office/drawing/2014/main" id="{15137BD5-EBCA-4ACE-A840-2240591C8627}"/>
                  </a:ext>
                </a:extLst>
              </p:cNvPr>
              <p:cNvSpPr txBox="1">
                <a:spLocks noRot="1" noChangeAspect="1" noMove="1" noResize="1" noEditPoints="1" noAdjustHandles="1" noChangeArrowheads="1" noChangeShapeType="1" noTextEdit="1"/>
              </p:cNvSpPr>
              <p:nvPr/>
            </p:nvSpPr>
            <p:spPr>
              <a:xfrm>
                <a:off x="754801" y="6568711"/>
                <a:ext cx="4780721" cy="282850"/>
              </a:xfrm>
              <a:prstGeom prst="rect">
                <a:avLst/>
              </a:prstGeom>
              <a:blipFill>
                <a:blip r:embed="rId3"/>
                <a:stretch>
                  <a:fillRect l="-1403" t="-13043" b="-8696"/>
                </a:stretch>
              </a:blipFill>
            </p:spPr>
            <p:txBody>
              <a:bodyPr/>
              <a:lstStyle/>
              <a:p>
                <a:r>
                  <a:rPr lang="en-US">
                    <a:noFill/>
                  </a:rPr>
                  <a:t> </a:t>
                </a:r>
              </a:p>
            </p:txBody>
          </p:sp>
        </mc:Fallback>
      </mc:AlternateContent>
      <p:pic>
        <p:nvPicPr>
          <p:cNvPr id="7" name="Picture 6">
            <a:extLst>
              <a:ext uri="{FF2B5EF4-FFF2-40B4-BE49-F238E27FC236}">
                <a16:creationId xmlns:a16="http://schemas.microsoft.com/office/drawing/2014/main" id="{A25BA825-4928-4EE2-92AD-88A5793338D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91073" y="3175462"/>
            <a:ext cx="7733333" cy="3257986"/>
          </a:xfrm>
          <a:prstGeom prst="rect">
            <a:avLst/>
          </a:prstGeom>
        </p:spPr>
      </p:pic>
    </p:spTree>
    <p:extLst>
      <p:ext uri="{BB962C8B-B14F-4D97-AF65-F5344CB8AC3E}">
        <p14:creationId xmlns:p14="http://schemas.microsoft.com/office/powerpoint/2010/main" val="15779500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A0CA3DC-BFF6-4E4D-A999-6C4584846B5B}"/>
              </a:ext>
            </a:extLst>
          </p:cNvPr>
          <p:cNvSpPr>
            <a:spLocks noGrp="1"/>
          </p:cNvSpPr>
          <p:nvPr>
            <p:ph type="sldNum" sz="quarter" idx="11"/>
          </p:nvPr>
        </p:nvSpPr>
        <p:spPr/>
        <p:txBody>
          <a:bodyPr/>
          <a:lstStyle/>
          <a:p>
            <a:fld id="{62CB3E74-FC4B-418A-B5F6-72ED80208EB2}" type="slidenum">
              <a:rPr lang="en-US" noProof="0" smtClean="0"/>
              <a:pPr/>
              <a:t>8</a:t>
            </a:fld>
            <a:endParaRPr lang="en-US" noProof="0"/>
          </a:p>
        </p:txBody>
      </p:sp>
      <p:sp>
        <p:nvSpPr>
          <p:cNvPr id="8" name="Title 1">
            <a:extLst>
              <a:ext uri="{FF2B5EF4-FFF2-40B4-BE49-F238E27FC236}">
                <a16:creationId xmlns:a16="http://schemas.microsoft.com/office/drawing/2014/main" id="{E7A962CA-73E8-4815-9051-7435E7093762}"/>
              </a:ext>
            </a:extLst>
          </p:cNvPr>
          <p:cNvSpPr txBox="1">
            <a:spLocks/>
          </p:cNvSpPr>
          <p:nvPr/>
        </p:nvSpPr>
        <p:spPr bwMode="gray">
          <a:xfrm>
            <a:off x="587376" y="368300"/>
            <a:ext cx="11017250" cy="1014186"/>
          </a:xfrm>
          <a:prstGeom prst="rect">
            <a:avLst/>
          </a:prstGeom>
        </p:spPr>
        <p:txBody>
          <a:bodyPr vert="horz" lIns="0" tIns="0" rIns="0" bIns="0" rtlCol="0" anchor="t" anchorCtr="0">
            <a:noAutofit/>
          </a:bodyPr>
          <a:lstStyle>
            <a:lvl1pPr algn="l" defTabSz="914400" rtl="0" eaLnBrk="1" latinLnBrk="0" hangingPunct="1">
              <a:lnSpc>
                <a:spcPct val="110000"/>
              </a:lnSpc>
              <a:spcBef>
                <a:spcPct val="0"/>
              </a:spcBef>
              <a:buNone/>
              <a:defRPr sz="3000" b="1" kern="1200">
                <a:solidFill>
                  <a:schemeClr val="tx1"/>
                </a:solidFill>
                <a:latin typeface="+mj-lt"/>
                <a:ea typeface="+mj-ea"/>
                <a:cs typeface="+mj-cs"/>
              </a:defRPr>
            </a:lvl1pPr>
          </a:lstStyle>
          <a:p>
            <a:r>
              <a:rPr lang="en-US" dirty="0"/>
              <a:t>Our Approach</a:t>
            </a:r>
          </a:p>
          <a:p>
            <a:r>
              <a:rPr lang="en-US" sz="1800" b="0" i="1" dirty="0"/>
              <a:t>Volume Preparation</a:t>
            </a:r>
          </a:p>
          <a:p>
            <a:endParaRPr lang="en-US" sz="1800" i="1" dirty="0"/>
          </a:p>
        </p:txBody>
      </p:sp>
      <p:sp>
        <p:nvSpPr>
          <p:cNvPr id="3" name="Content Placeholder 2">
            <a:extLst>
              <a:ext uri="{FF2B5EF4-FFF2-40B4-BE49-F238E27FC236}">
                <a16:creationId xmlns:a16="http://schemas.microsoft.com/office/drawing/2014/main" id="{DB7B816B-39AC-4D9A-91EA-116705A7C916}"/>
              </a:ext>
            </a:extLst>
          </p:cNvPr>
          <p:cNvSpPr>
            <a:spLocks noGrp="1"/>
          </p:cNvSpPr>
          <p:nvPr>
            <p:ph idx="1"/>
          </p:nvPr>
        </p:nvSpPr>
        <p:spPr>
          <a:xfrm>
            <a:off x="587376" y="1387699"/>
            <a:ext cx="11017249" cy="1623557"/>
          </a:xfrm>
        </p:spPr>
        <p:txBody>
          <a:bodyPr/>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285750" indent="-285750"/>
            <a:r>
              <a:rPr lang="en-US" sz="1400" dirty="0"/>
              <a:t>Raw traded contracts data was not suitable for mathematical analysis due to large seasonal components driving volumes</a:t>
            </a:r>
          </a:p>
          <a:p>
            <a:pPr marL="285750" indent="-285750"/>
            <a:r>
              <a:rPr lang="en-US" sz="1400" dirty="0"/>
              <a:t>The seasonal components cleaned from the data are roll effect ,days of the week ,days around Christmas, number of days until contract expiry and cyclical yearly effects</a:t>
            </a:r>
          </a:p>
          <a:p>
            <a:pPr marL="285750" indent="-285750"/>
            <a:r>
              <a:rPr lang="en-US" sz="1400" dirty="0"/>
              <a:t>A model was fit to explain volumes based on these seasonal components, whatever it could not explain (around 75%) was used in later research as a volume proxy</a:t>
            </a:r>
          </a:p>
          <a:p>
            <a:pPr marL="285750" indent="-285750"/>
            <a:r>
              <a:rPr lang="en-US" sz="1400" dirty="0"/>
              <a:t>Other measurements of volume were also taken as benchmarks, e.g. Front Month volume and Traded Contracts/Open Interest which proved to be a quite precise proxy for volume</a:t>
            </a:r>
          </a:p>
          <a:p>
            <a:pPr>
              <a:buNone/>
            </a:pPr>
            <a:endParaRPr lang="en-US" sz="1400" dirty="0"/>
          </a:p>
          <a:p>
            <a:pPr marL="285750" indent="-285750"/>
            <a:endParaRPr lang="en-US" sz="1400" dirty="0"/>
          </a:p>
          <a:p>
            <a:pPr>
              <a:buNone/>
            </a:pPr>
            <a:r>
              <a:rPr lang="en-US" sz="1400" dirty="0"/>
              <a:t>	</a:t>
            </a:r>
          </a:p>
          <a:p>
            <a:pPr>
              <a:buNone/>
            </a:pPr>
            <a:r>
              <a:rPr lang="en-US" sz="1400" dirty="0"/>
              <a:t>	</a:t>
            </a:r>
          </a:p>
          <a:p>
            <a:pPr>
              <a:buNone/>
            </a:pPr>
            <a:r>
              <a:rPr lang="en-US" sz="1400" dirty="0"/>
              <a:t>	</a:t>
            </a:r>
          </a:p>
          <a:p>
            <a:pPr>
              <a:buNone/>
            </a:pPr>
            <a:r>
              <a:rPr lang="en-US" sz="1400" dirty="0"/>
              <a:t>	</a:t>
            </a:r>
          </a:p>
          <a:p>
            <a:pPr>
              <a:buNone/>
            </a:pPr>
            <a:r>
              <a:rPr lang="en-US" sz="1400" dirty="0"/>
              <a:t>	</a:t>
            </a:r>
          </a:p>
          <a:p>
            <a:pPr>
              <a:buNone/>
            </a:pPr>
            <a:r>
              <a:rPr lang="en-US" sz="1400" dirty="0"/>
              <a:t>	</a:t>
            </a:r>
          </a:p>
          <a:p>
            <a:pPr>
              <a:buNone/>
            </a:pPr>
            <a:r>
              <a:rPr lang="en-US" sz="1400" dirty="0"/>
              <a:t>	</a:t>
            </a:r>
          </a:p>
          <a:p>
            <a:pPr>
              <a:buNone/>
            </a:pPr>
            <a:r>
              <a:rPr lang="en-US" sz="1400" dirty="0"/>
              <a:t>	</a:t>
            </a:r>
          </a:p>
          <a:p>
            <a:pPr>
              <a:buNone/>
            </a:pPr>
            <a:r>
              <a:rPr lang="en-US" sz="1400" dirty="0"/>
              <a:t>	</a:t>
            </a:r>
          </a:p>
          <a:p>
            <a:pPr>
              <a:buNone/>
            </a:pPr>
            <a:r>
              <a:rPr lang="en-US" sz="1400" dirty="0"/>
              <a:t>	</a:t>
            </a:r>
          </a:p>
          <a:p>
            <a:pPr>
              <a:buNone/>
            </a:pPr>
            <a:r>
              <a:rPr lang="en-US" sz="1400" dirty="0"/>
              <a:t>	</a:t>
            </a:r>
          </a:p>
          <a:p>
            <a:pPr>
              <a:buNone/>
            </a:pPr>
            <a:r>
              <a:rPr lang="en-US" sz="1400" dirty="0"/>
              <a:t>	</a:t>
            </a:r>
          </a:p>
          <a:p>
            <a:pPr>
              <a:buNone/>
            </a:pPr>
            <a:r>
              <a:rPr lang="en-US" sz="1400" dirty="0"/>
              <a:t>	</a:t>
            </a:r>
          </a:p>
          <a:p>
            <a:pPr>
              <a:buNone/>
            </a:pPr>
            <a:r>
              <a:rPr lang="en-US" sz="1400" dirty="0"/>
              <a:t>	</a:t>
            </a:r>
          </a:p>
          <a:p>
            <a:pPr>
              <a:buNone/>
            </a:pPr>
            <a:r>
              <a:rPr lang="en-US" sz="1400" dirty="0"/>
              <a:t>	</a:t>
            </a:r>
          </a:p>
          <a:p>
            <a:pPr>
              <a:buNone/>
            </a:pPr>
            <a:endParaRPr lang="en-US" sz="1400" dirty="0"/>
          </a:p>
        </p:txBody>
      </p:sp>
      <p:sp>
        <p:nvSpPr>
          <p:cNvPr id="6" name="Rectangle 5">
            <a:extLst>
              <a:ext uri="{FF2B5EF4-FFF2-40B4-BE49-F238E27FC236}">
                <a16:creationId xmlns:a16="http://schemas.microsoft.com/office/drawing/2014/main" id="{1A7A280F-9D57-4EF7-995D-235528EE39A2}"/>
              </a:ext>
            </a:extLst>
          </p:cNvPr>
          <p:cNvSpPr/>
          <p:nvPr/>
        </p:nvSpPr>
        <p:spPr>
          <a:xfrm>
            <a:off x="2299871" y="3265003"/>
            <a:ext cx="1658769" cy="163997"/>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b="1" dirty="0"/>
              <a:t>Before Cleaning</a:t>
            </a:r>
          </a:p>
        </p:txBody>
      </p:sp>
      <p:sp>
        <p:nvSpPr>
          <p:cNvPr id="7" name="Rectangle 6">
            <a:extLst>
              <a:ext uri="{FF2B5EF4-FFF2-40B4-BE49-F238E27FC236}">
                <a16:creationId xmlns:a16="http://schemas.microsoft.com/office/drawing/2014/main" id="{CC5EF44E-EEBF-4BB5-A32B-F8A02A39F565}"/>
              </a:ext>
            </a:extLst>
          </p:cNvPr>
          <p:cNvSpPr/>
          <p:nvPr/>
        </p:nvSpPr>
        <p:spPr>
          <a:xfrm>
            <a:off x="8233362" y="3265003"/>
            <a:ext cx="1658769" cy="163997"/>
          </a:xfrm>
          <a:prstGeom prst="rect">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bIns="79200" rtlCol="0" anchor="ctr"/>
          <a:lstStyle/>
          <a:p>
            <a:pPr algn="ctr"/>
            <a:r>
              <a:rPr lang="en-US" sz="1200" b="1" dirty="0"/>
              <a:t>After Cleaning</a:t>
            </a:r>
          </a:p>
        </p:txBody>
      </p:sp>
      <p:pic>
        <p:nvPicPr>
          <p:cNvPr id="10" name="Picture 9">
            <a:extLst>
              <a:ext uri="{FF2B5EF4-FFF2-40B4-BE49-F238E27FC236}">
                <a16:creationId xmlns:a16="http://schemas.microsoft.com/office/drawing/2014/main" id="{BEE061E9-7257-4B2C-A44F-72640DEF92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381" y="3475438"/>
            <a:ext cx="6084719" cy="2780952"/>
          </a:xfrm>
          <a:prstGeom prst="rect">
            <a:avLst/>
          </a:prstGeom>
        </p:spPr>
      </p:pic>
      <p:cxnSp>
        <p:nvCxnSpPr>
          <p:cNvPr id="14" name="Straight Arrow Connector 13">
            <a:extLst>
              <a:ext uri="{FF2B5EF4-FFF2-40B4-BE49-F238E27FC236}">
                <a16:creationId xmlns:a16="http://schemas.microsoft.com/office/drawing/2014/main" id="{193B510A-380F-4852-80CF-09507A979C80}"/>
              </a:ext>
            </a:extLst>
          </p:cNvPr>
          <p:cNvCxnSpPr/>
          <p:nvPr/>
        </p:nvCxnSpPr>
        <p:spPr>
          <a:xfrm>
            <a:off x="2901043" y="4082143"/>
            <a:ext cx="185057" cy="386443"/>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9DBB5C9C-51C6-4C1F-988B-6901257B8BF8}"/>
              </a:ext>
            </a:extLst>
          </p:cNvPr>
          <p:cNvCxnSpPr>
            <a:cxnSpLocks/>
          </p:cNvCxnSpPr>
          <p:nvPr/>
        </p:nvCxnSpPr>
        <p:spPr>
          <a:xfrm>
            <a:off x="2563586" y="4101193"/>
            <a:ext cx="59871" cy="492578"/>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E24206C-EC0F-40C6-8118-867FE05A7008}"/>
              </a:ext>
            </a:extLst>
          </p:cNvPr>
          <p:cNvCxnSpPr>
            <a:cxnSpLocks/>
          </p:cNvCxnSpPr>
          <p:nvPr/>
        </p:nvCxnSpPr>
        <p:spPr>
          <a:xfrm flipH="1">
            <a:off x="2100943" y="4082143"/>
            <a:ext cx="54428" cy="288471"/>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40949573-F31A-4005-A466-13B17FCE7C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58745" y="3513538"/>
            <a:ext cx="6008002" cy="2780952"/>
          </a:xfrm>
          <a:prstGeom prst="rect">
            <a:avLst/>
          </a:prstGeom>
        </p:spPr>
      </p:pic>
    </p:spTree>
    <p:extLst>
      <p:ext uri="{BB962C8B-B14F-4D97-AF65-F5344CB8AC3E}">
        <p14:creationId xmlns:p14="http://schemas.microsoft.com/office/powerpoint/2010/main" val="8470574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A0CA3DC-BFF6-4E4D-A999-6C4584846B5B}"/>
              </a:ext>
            </a:extLst>
          </p:cNvPr>
          <p:cNvSpPr>
            <a:spLocks noGrp="1"/>
          </p:cNvSpPr>
          <p:nvPr>
            <p:ph type="sldNum" sz="quarter" idx="11"/>
          </p:nvPr>
        </p:nvSpPr>
        <p:spPr/>
        <p:txBody>
          <a:bodyPr/>
          <a:lstStyle/>
          <a:p>
            <a:fld id="{62CB3E74-FC4B-418A-B5F6-72ED80208EB2}" type="slidenum">
              <a:rPr lang="en-US" noProof="0" smtClean="0"/>
              <a:pPr/>
              <a:t>9</a:t>
            </a:fld>
            <a:endParaRPr lang="en-US" noProof="0"/>
          </a:p>
        </p:txBody>
      </p:sp>
      <p:sp>
        <p:nvSpPr>
          <p:cNvPr id="8" name="Title 1">
            <a:extLst>
              <a:ext uri="{FF2B5EF4-FFF2-40B4-BE49-F238E27FC236}">
                <a16:creationId xmlns:a16="http://schemas.microsoft.com/office/drawing/2014/main" id="{E7A962CA-73E8-4815-9051-7435E7093762}"/>
              </a:ext>
            </a:extLst>
          </p:cNvPr>
          <p:cNvSpPr txBox="1">
            <a:spLocks/>
          </p:cNvSpPr>
          <p:nvPr/>
        </p:nvSpPr>
        <p:spPr bwMode="gray">
          <a:xfrm>
            <a:off x="587376" y="368300"/>
            <a:ext cx="11017250" cy="512970"/>
          </a:xfrm>
          <a:prstGeom prst="rect">
            <a:avLst/>
          </a:prstGeom>
        </p:spPr>
        <p:txBody>
          <a:bodyPr vert="horz" lIns="0" tIns="0" rIns="0" bIns="0" rtlCol="0" anchor="t" anchorCtr="0">
            <a:noAutofit/>
          </a:bodyPr>
          <a:lstStyle>
            <a:lvl1pPr algn="l" defTabSz="914400" rtl="0" eaLnBrk="1" latinLnBrk="0" hangingPunct="1">
              <a:lnSpc>
                <a:spcPct val="110000"/>
              </a:lnSpc>
              <a:spcBef>
                <a:spcPct val="0"/>
              </a:spcBef>
              <a:buNone/>
              <a:defRPr sz="3000" b="1" kern="1200">
                <a:solidFill>
                  <a:schemeClr val="tx1"/>
                </a:solidFill>
                <a:latin typeface="+mj-lt"/>
                <a:ea typeface="+mj-ea"/>
                <a:cs typeface="+mj-cs"/>
              </a:defRPr>
            </a:lvl1pPr>
          </a:lstStyle>
          <a:p>
            <a:r>
              <a:rPr lang="en-US" dirty="0"/>
              <a:t>VAR Models</a:t>
            </a:r>
            <a:endParaRPr lang="en-US" sz="1800" i="1" dirty="0"/>
          </a:p>
        </p:txBody>
      </p:sp>
      <p:graphicFrame>
        <p:nvGraphicFramePr>
          <p:cNvPr id="15" name="Table 1">
            <a:extLst>
              <a:ext uri="{FF2B5EF4-FFF2-40B4-BE49-F238E27FC236}">
                <a16:creationId xmlns:a16="http://schemas.microsoft.com/office/drawing/2014/main" id="{2969C15A-AB0F-4597-B472-2AFB0123B0D0}"/>
              </a:ext>
            </a:extLst>
          </p:cNvPr>
          <p:cNvGraphicFramePr>
            <a:graphicFrameLocks/>
          </p:cNvGraphicFramePr>
          <p:nvPr>
            <p:custDataLst>
              <p:tags r:id="rId1"/>
            </p:custDataLst>
            <p:extLst>
              <p:ext uri="{D42A27DB-BD31-4B8C-83A1-F6EECF244321}">
                <p14:modId xmlns:p14="http://schemas.microsoft.com/office/powerpoint/2010/main" val="211171202"/>
              </p:ext>
            </p:extLst>
          </p:nvPr>
        </p:nvGraphicFramePr>
        <p:xfrm>
          <a:off x="587375" y="2194560"/>
          <a:ext cx="11017250" cy="3119222"/>
        </p:xfrm>
        <a:graphic>
          <a:graphicData uri="http://schemas.openxmlformats.org/drawingml/2006/table">
            <a:tbl>
              <a:tblPr firstRow="1"/>
              <a:tblGrid>
                <a:gridCol w="4168689">
                  <a:extLst>
                    <a:ext uri="{9D8B030D-6E8A-4147-A177-3AD203B41FA5}">
                      <a16:colId xmlns:a16="http://schemas.microsoft.com/office/drawing/2014/main" val="215981780"/>
                    </a:ext>
                  </a:extLst>
                </a:gridCol>
                <a:gridCol w="4168689">
                  <a:extLst>
                    <a:ext uri="{9D8B030D-6E8A-4147-A177-3AD203B41FA5}">
                      <a16:colId xmlns:a16="http://schemas.microsoft.com/office/drawing/2014/main" val="28288695"/>
                    </a:ext>
                  </a:extLst>
                </a:gridCol>
                <a:gridCol w="2679872">
                  <a:extLst>
                    <a:ext uri="{9D8B030D-6E8A-4147-A177-3AD203B41FA5}">
                      <a16:colId xmlns:a16="http://schemas.microsoft.com/office/drawing/2014/main" val="4277949936"/>
                    </a:ext>
                  </a:extLst>
                </a:gridCol>
              </a:tblGrid>
              <a:tr h="29492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1" u="none" strike="noStrike" cap="none" normalizeH="0" baseline="0" noProof="0" dirty="0">
                          <a:ln>
                            <a:noFill/>
                          </a:ln>
                          <a:solidFill>
                            <a:schemeClr val="tx1"/>
                          </a:solidFill>
                          <a:effectLst/>
                        </a:rPr>
                        <a:t>Table of VAR(2) coefficients</a:t>
                      </a:r>
                      <a:endParaRPr kumimoji="0" lang="en-US" sz="1200" b="1" i="0" u="none" strike="noStrike" cap="none" normalizeH="0" baseline="0" noProof="0" dirty="0">
                        <a:ln>
                          <a:noFill/>
                        </a:ln>
                        <a:solidFill>
                          <a:schemeClr val="tx1"/>
                        </a:solidFill>
                        <a:effectLst/>
                        <a:latin typeface="+mj-lt"/>
                        <a:cs typeface="Arial"/>
                      </a:endParaRPr>
                    </a:p>
                  </a:txBody>
                  <a:tcPr marL="90000" marR="90000" marT="61200" marB="61200" anchor="ctr">
                    <a:lnL>
                      <a:noFill/>
                    </a:lnL>
                    <a:lnR>
                      <a:noFill/>
                    </a:lnR>
                    <a:lnT>
                      <a:noFill/>
                    </a:lnT>
                    <a:lnB w="6350" cap="flat" cmpd="sng" algn="ctr">
                      <a:noFill/>
                      <a:prstDash val="solid"/>
                    </a:lnB>
                    <a:lnTlToBr>
                      <a:noFill/>
                    </a:lnTlToBr>
                    <a:lnBlToTr>
                      <a:noFill/>
                    </a:lnBlToTr>
                  </a:tcPr>
                </a:tc>
                <a:tc>
                  <a:txBody>
                    <a:bodyPr/>
                    <a:lstStyle/>
                    <a:p>
                      <a:pPr rtl="0"/>
                      <a:endParaRPr lang="en-US" sz="1200" noProof="0" dirty="0">
                        <a:solidFill>
                          <a:schemeClr val="tx1"/>
                        </a:solidFill>
                      </a:endParaRPr>
                    </a:p>
                  </a:txBody>
                  <a:tcPr marL="90000" marR="90000" marT="61200" marB="61200" anchor="ctr">
                    <a:lnL>
                      <a:noFill/>
                    </a:lnL>
                    <a:lnR>
                      <a:noFill/>
                    </a:lnR>
                    <a:lnT>
                      <a:noFill/>
                    </a:lnT>
                    <a:lnB w="6350" cap="flat" cmpd="sng" algn="ctr">
                      <a:noFill/>
                      <a:prstDash val="solid"/>
                    </a:lnB>
                    <a:lnTlToBr>
                      <a:noFill/>
                    </a:lnTlToBr>
                    <a:lnBlToTr>
                      <a:noFill/>
                    </a:lnBlToTr>
                  </a:tcPr>
                </a:tc>
                <a:tc>
                  <a:txBody>
                    <a:bodyPr/>
                    <a:lstStyle/>
                    <a:p>
                      <a:pPr rtl="0"/>
                      <a:endParaRPr lang="en-US" sz="1200" noProof="0" dirty="0">
                        <a:solidFill>
                          <a:schemeClr val="tx1"/>
                        </a:solidFill>
                      </a:endParaRPr>
                    </a:p>
                  </a:txBody>
                  <a:tcPr marL="90000" marR="90000" marT="61200" marB="61200" anchor="ctr">
                    <a:lnL>
                      <a:noFill/>
                    </a:lnL>
                    <a:lnR>
                      <a:noFill/>
                    </a:lnR>
                    <a:lnT>
                      <a:noFill/>
                    </a:lnT>
                    <a:lnB w="6350" cap="flat" cmpd="sng" algn="ctr">
                      <a:noFill/>
                      <a:prstDash val="solid"/>
                    </a:lnB>
                    <a:lnTlToBr>
                      <a:noFill/>
                    </a:lnTlToBr>
                    <a:lnBlToTr>
                      <a:noFill/>
                    </a:lnBlToTr>
                  </a:tcPr>
                </a:tc>
                <a:extLst>
                  <a:ext uri="{0D108BD9-81ED-4DB2-BD59-A6C34878D82A}">
                    <a16:rowId xmlns:a16="http://schemas.microsoft.com/office/drawing/2014/main" val="3378295037"/>
                  </a:ext>
                </a:extLst>
              </a:tr>
              <a:tr h="294929">
                <a:tc gridSpan="3">
                  <a:txBody>
                    <a:bodyPr/>
                    <a:lstStyle/>
                    <a:p>
                      <a:pPr rtl="0"/>
                      <a:r>
                        <a:rPr lang="de-DE" sz="1200" noProof="0" dirty="0">
                          <a:solidFill>
                            <a:schemeClr val="bg1"/>
                          </a:solidFill>
                        </a:rPr>
                        <a:t>Volume                                                                                    </a:t>
                      </a:r>
                      <a:r>
                        <a:rPr lang="de-DE" sz="1200" noProof="0" dirty="0" err="1">
                          <a:solidFill>
                            <a:schemeClr val="bg1"/>
                          </a:solidFill>
                        </a:rPr>
                        <a:t>Volatility</a:t>
                      </a:r>
                      <a:r>
                        <a:rPr lang="de-DE" sz="1200" noProof="0" dirty="0">
                          <a:solidFill>
                            <a:schemeClr val="bg1"/>
                          </a:solidFill>
                        </a:rPr>
                        <a:t>                                                                                    </a:t>
                      </a:r>
                      <a:r>
                        <a:rPr lang="de-DE" sz="1200" noProof="0" dirty="0" err="1">
                          <a:solidFill>
                            <a:schemeClr val="bg1"/>
                          </a:solidFill>
                        </a:rPr>
                        <a:t>Coefficients</a:t>
                      </a:r>
                      <a:r>
                        <a:rPr lang="de-DE" sz="1200" noProof="0" dirty="0">
                          <a:solidFill>
                            <a:schemeClr val="bg1"/>
                          </a:solidFill>
                        </a:rPr>
                        <a:t> (in </a:t>
                      </a:r>
                      <a:r>
                        <a:rPr lang="de-DE" sz="1200" noProof="0" dirty="0" err="1">
                          <a:solidFill>
                            <a:schemeClr val="bg1"/>
                          </a:solidFill>
                        </a:rPr>
                        <a:t>contracts</a:t>
                      </a:r>
                      <a:r>
                        <a:rPr lang="de-DE" sz="1200" noProof="0" dirty="0">
                          <a:solidFill>
                            <a:schemeClr val="bg1"/>
                          </a:solidFill>
                        </a:rPr>
                        <a:t> </a:t>
                      </a:r>
                      <a:r>
                        <a:rPr lang="de-DE" sz="1200" noProof="0" dirty="0" err="1">
                          <a:solidFill>
                            <a:schemeClr val="bg1"/>
                          </a:solidFill>
                        </a:rPr>
                        <a:t>traded</a:t>
                      </a:r>
                      <a:r>
                        <a:rPr lang="de-DE" sz="1200" noProof="0" dirty="0">
                          <a:solidFill>
                            <a:schemeClr val="bg1"/>
                          </a:solidFill>
                        </a:rPr>
                        <a:t>)</a:t>
                      </a:r>
                      <a:endParaRPr lang="en-US" sz="1200" noProof="0" dirty="0">
                        <a:solidFill>
                          <a:schemeClr val="bg1"/>
                        </a:solidFill>
                      </a:endParaRPr>
                    </a:p>
                  </a:txBody>
                  <a:tcPr marL="90000" marR="90000" marT="61200" marB="61200" anchor="ctr">
                    <a:lnL>
                      <a:noFill/>
                    </a:lnL>
                    <a:lnR>
                      <a:noFill/>
                    </a:lnR>
                    <a:lnT w="6350" cap="flat" cmpd="sng" algn="ctr">
                      <a:noFill/>
                      <a:prstDash val="solid"/>
                    </a:lnT>
                    <a:lnB w="6350" cap="flat" cmpd="sng" algn="ctr">
                      <a:noFill/>
                      <a:prstDash val="solid"/>
                    </a:lnB>
                    <a:lnTlToBr>
                      <a:noFill/>
                    </a:lnTlToBr>
                    <a:lnBlToTr>
                      <a:noFill/>
                    </a:lnBlToTr>
                    <a:solidFill>
                      <a:schemeClr val="tx1"/>
                    </a:solidFill>
                  </a:tcPr>
                </a:tc>
                <a:tc hMerge="1">
                  <a:txBody>
                    <a:bodyPr/>
                    <a:lstStyle/>
                    <a:p>
                      <a:endParaRPr lang="de-DE" sz="1000" dirty="0"/>
                    </a:p>
                  </a:txBody>
                  <a:tcPr/>
                </a:tc>
                <a:tc hMerge="1">
                  <a:txBody>
                    <a:bodyPr/>
                    <a:lstStyle/>
                    <a:p>
                      <a:endParaRPr lang="de-DE" sz="1000" dirty="0"/>
                    </a:p>
                  </a:txBody>
                  <a:tcPr/>
                </a:tc>
                <a:extLst>
                  <a:ext uri="{0D108BD9-81ED-4DB2-BD59-A6C34878D82A}">
                    <a16:rowId xmlns:a16="http://schemas.microsoft.com/office/drawing/2014/main" val="2794041483"/>
                  </a:ext>
                </a:extLst>
              </a:tr>
              <a:tr h="292314">
                <a:tc rowSpan="6">
                  <a:txBody>
                    <a:bodyPr/>
                    <a:lstStyle/>
                    <a:p>
                      <a:pPr marL="0" marR="0" lvl="0" indent="0" algn="ctr" defTabSz="249238" rtl="0" eaLnBrk="1" fontAlgn="base" latinLnBrk="0" hangingPunct="1">
                        <a:lnSpc>
                          <a:spcPct val="100000"/>
                        </a:lnSpc>
                        <a:spcBef>
                          <a:spcPct val="0"/>
                        </a:spcBef>
                        <a:spcAft>
                          <a:spcPct val="0"/>
                        </a:spcAft>
                        <a:buClr>
                          <a:schemeClr val="tx2"/>
                        </a:buClr>
                        <a:buSzTx/>
                        <a:buFontTx/>
                        <a:buNone/>
                        <a:tabLst/>
                      </a:pPr>
                      <a:endParaRPr kumimoji="0" lang="de-DE" sz="1400" b="1" i="0" u="none" strike="noStrike" cap="none" normalizeH="0" baseline="0" noProof="0" dirty="0">
                        <a:ln>
                          <a:noFill/>
                        </a:ln>
                        <a:solidFill>
                          <a:schemeClr val="tx1"/>
                        </a:solidFill>
                        <a:effectLst/>
                        <a:latin typeface="Arial" charset="0"/>
                      </a:endParaRPr>
                    </a:p>
                    <a:p>
                      <a:pPr marL="0" marR="0" lvl="0" indent="0" algn="ctr" defTabSz="249238" rtl="0" eaLnBrk="1" fontAlgn="base" latinLnBrk="0" hangingPunct="1">
                        <a:lnSpc>
                          <a:spcPct val="100000"/>
                        </a:lnSpc>
                        <a:spcBef>
                          <a:spcPct val="0"/>
                        </a:spcBef>
                        <a:spcAft>
                          <a:spcPct val="0"/>
                        </a:spcAft>
                        <a:buClr>
                          <a:schemeClr val="tx2"/>
                        </a:buClr>
                        <a:buSzTx/>
                        <a:buFontTx/>
                        <a:buNone/>
                        <a:tabLst/>
                      </a:pPr>
                      <a:endParaRPr kumimoji="0" lang="de-DE" sz="1400" b="1" i="0" u="none" strike="noStrike" cap="none" normalizeH="0" baseline="0" noProof="0" dirty="0">
                        <a:ln>
                          <a:noFill/>
                        </a:ln>
                        <a:solidFill>
                          <a:schemeClr val="tx1"/>
                        </a:solidFill>
                        <a:effectLst/>
                        <a:latin typeface="Arial" charset="0"/>
                      </a:endParaRPr>
                    </a:p>
                    <a:p>
                      <a:pPr marL="0" marR="0" lvl="0" indent="0" algn="ctr" defTabSz="249238" rtl="0" eaLnBrk="1" fontAlgn="base" latinLnBrk="0" hangingPunct="1">
                        <a:lnSpc>
                          <a:spcPct val="100000"/>
                        </a:lnSpc>
                        <a:spcBef>
                          <a:spcPct val="0"/>
                        </a:spcBef>
                        <a:spcAft>
                          <a:spcPct val="0"/>
                        </a:spcAft>
                        <a:buClr>
                          <a:schemeClr val="tx2"/>
                        </a:buClr>
                        <a:buSzTx/>
                        <a:buFontTx/>
                        <a:buNone/>
                        <a:tabLst/>
                      </a:pPr>
                      <a:r>
                        <a:rPr kumimoji="0" lang="de-DE" sz="1400" b="1" i="0" u="none" strike="noStrike" cap="none" normalizeH="0" baseline="0" noProof="0" dirty="0">
                          <a:ln>
                            <a:noFill/>
                          </a:ln>
                          <a:solidFill>
                            <a:schemeClr val="tx1"/>
                          </a:solidFill>
                          <a:effectLst/>
                          <a:latin typeface="Arial" charset="0"/>
                        </a:rPr>
                        <a:t>Front </a:t>
                      </a:r>
                      <a:r>
                        <a:rPr kumimoji="0" lang="de-DE" sz="1400" b="1" i="0" u="none" strike="noStrike" cap="none" normalizeH="0" baseline="0" noProof="0" dirty="0" err="1">
                          <a:ln>
                            <a:noFill/>
                          </a:ln>
                          <a:solidFill>
                            <a:schemeClr val="tx1"/>
                          </a:solidFill>
                          <a:effectLst/>
                          <a:latin typeface="Arial" charset="0"/>
                        </a:rPr>
                        <a:t>Month</a:t>
                      </a:r>
                      <a:r>
                        <a:rPr kumimoji="0" lang="de-DE" sz="1400" b="1" i="0" u="none" strike="noStrike" cap="none" normalizeH="0" baseline="0" noProof="0" dirty="0">
                          <a:ln>
                            <a:noFill/>
                          </a:ln>
                          <a:solidFill>
                            <a:schemeClr val="tx1"/>
                          </a:solidFill>
                          <a:effectLst/>
                          <a:latin typeface="Arial" charset="0"/>
                        </a:rPr>
                        <a:t> </a:t>
                      </a:r>
                      <a:r>
                        <a:rPr kumimoji="0" lang="de-DE" sz="1400" b="1" i="0" u="none" strike="noStrike" cap="none" normalizeH="0" baseline="0" noProof="0" dirty="0" err="1">
                          <a:ln>
                            <a:noFill/>
                          </a:ln>
                          <a:solidFill>
                            <a:schemeClr val="tx1"/>
                          </a:solidFill>
                          <a:effectLst/>
                          <a:latin typeface="Arial" charset="0"/>
                        </a:rPr>
                        <a:t>Deseasoned</a:t>
                      </a:r>
                      <a:endParaRPr kumimoji="0" lang="en-US" sz="1400" b="1" i="0" u="none" strike="noStrike" cap="none" normalizeH="0" baseline="0" noProof="0" dirty="0">
                        <a:ln>
                          <a:noFill/>
                        </a:ln>
                        <a:solidFill>
                          <a:schemeClr val="tx1"/>
                        </a:solidFill>
                        <a:effectLst/>
                        <a:latin typeface="Arial" charset="0"/>
                      </a:endParaRPr>
                    </a:p>
                  </a:txBody>
                  <a:tcPr marL="90000" marR="90000" marT="61200" marB="61200" anchor="ctr" horzOverflow="overflow">
                    <a:lnT w="6350" cap="flat" cmpd="sng" algn="ctr">
                      <a:noFill/>
                      <a:prstDash val="solid"/>
                    </a:lnT>
                    <a:lnB w="12700" cap="flat" cmpd="sng" algn="ctr">
                      <a:no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1" i="0" u="none" strike="noStrike" cap="none" normalizeH="0" baseline="0" noProof="0" dirty="0" err="1">
                          <a:ln>
                            <a:noFill/>
                          </a:ln>
                          <a:solidFill>
                            <a:schemeClr val="tx1"/>
                          </a:solidFill>
                          <a:effectLst/>
                          <a:latin typeface="Arial" charset="0"/>
                        </a:rPr>
                        <a:t>Reconstructed</a:t>
                      </a:r>
                      <a:r>
                        <a:rPr kumimoji="0" lang="de-DE" sz="1200" b="1" i="0" u="none" strike="noStrike" cap="none" normalizeH="0" baseline="0" noProof="0" dirty="0">
                          <a:ln>
                            <a:noFill/>
                          </a:ln>
                          <a:solidFill>
                            <a:schemeClr val="tx1"/>
                          </a:solidFill>
                          <a:effectLst/>
                          <a:latin typeface="Arial" charset="0"/>
                        </a:rPr>
                        <a:t> </a:t>
                      </a:r>
                      <a:r>
                        <a:rPr kumimoji="0" lang="de-DE" sz="1200" b="1" i="0" u="none" strike="noStrike" cap="none" normalizeH="0" baseline="0" noProof="0" dirty="0" err="1">
                          <a:ln>
                            <a:noFill/>
                          </a:ln>
                          <a:solidFill>
                            <a:schemeClr val="tx1"/>
                          </a:solidFill>
                          <a:effectLst/>
                          <a:latin typeface="Arial" charset="0"/>
                        </a:rPr>
                        <a:t>Realized</a:t>
                      </a:r>
                      <a:r>
                        <a:rPr kumimoji="0" lang="de-DE" sz="1200" b="1" i="0" u="none" strike="noStrike" cap="none" normalizeH="0" baseline="0" noProof="0" dirty="0">
                          <a:ln>
                            <a:noFill/>
                          </a:ln>
                          <a:solidFill>
                            <a:schemeClr val="tx1"/>
                          </a:solidFill>
                          <a:effectLst/>
                          <a:latin typeface="Arial" charset="0"/>
                        </a:rPr>
                        <a:t> </a:t>
                      </a:r>
                      <a:r>
                        <a:rPr kumimoji="0" lang="de-DE" sz="1200" b="1" i="0" u="none" strike="noStrike" cap="none" normalizeH="0" baseline="0" noProof="0" dirty="0" err="1">
                          <a:ln>
                            <a:noFill/>
                          </a:ln>
                          <a:solidFill>
                            <a:schemeClr val="tx1"/>
                          </a:solidFill>
                          <a:effectLst/>
                          <a:latin typeface="Arial" charset="0"/>
                        </a:rPr>
                        <a:t>Volatility</a:t>
                      </a:r>
                      <a:endParaRPr kumimoji="0" lang="en-US" sz="1200" b="1" i="0" u="none" strike="noStrike" cap="none" normalizeH="0" baseline="0" noProof="0" dirty="0">
                        <a:ln>
                          <a:noFill/>
                        </a:ln>
                        <a:solidFill>
                          <a:schemeClr val="tx1"/>
                        </a:solidFill>
                        <a:effectLst/>
                        <a:latin typeface="Arial" charset="0"/>
                      </a:endParaRPr>
                    </a:p>
                  </a:txBody>
                  <a:tcPr marL="90000" marR="90000" marT="61200" marB="61200" anchor="ctr" horzOverflow="overflow">
                    <a:lnT w="6350" cap="flat" cmpd="sng" algn="ctr">
                      <a:noFill/>
                      <a:prstDash val="solid"/>
                    </a:lnT>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1" i="0" u="none" strike="noStrike" cap="none" normalizeH="0" baseline="0" noProof="0" dirty="0">
                          <a:ln>
                            <a:noFill/>
                          </a:ln>
                          <a:solidFill>
                            <a:schemeClr val="tx1"/>
                          </a:solidFill>
                          <a:effectLst/>
                          <a:latin typeface="Arial" charset="0"/>
                        </a:rPr>
                        <a:t>-10738</a:t>
                      </a:r>
                      <a:endParaRPr kumimoji="0" lang="en-US" sz="1200" b="1" i="0" u="none" strike="noStrike" cap="none" normalizeH="0" baseline="0" noProof="0" dirty="0">
                        <a:ln>
                          <a:noFill/>
                        </a:ln>
                        <a:solidFill>
                          <a:schemeClr val="tx1"/>
                        </a:solidFill>
                        <a:effectLst/>
                        <a:latin typeface="Arial" charset="0"/>
                      </a:endParaRPr>
                    </a:p>
                  </a:txBody>
                  <a:tcPr marL="90000" marR="90000" marT="61200" marB="61200" anchor="ctr" horzOverflow="overflow">
                    <a:lnT w="6350" cap="flat" cmpd="sng" algn="ctr">
                      <a:noFill/>
                      <a:prstDash val="solid"/>
                    </a:lnT>
                  </a:tcPr>
                </a:tc>
                <a:extLst>
                  <a:ext uri="{0D108BD9-81ED-4DB2-BD59-A6C34878D82A}">
                    <a16:rowId xmlns:a16="http://schemas.microsoft.com/office/drawing/2014/main" val="643551148"/>
                  </a:ext>
                </a:extLst>
              </a:tr>
              <a:tr h="292314">
                <a:tc vMerge="1">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defRPr/>
                      </a:pPr>
                      <a:r>
                        <a:rPr kumimoji="0" lang="de-DE" sz="1200" b="1" i="0" u="none" strike="noStrike" cap="none" normalizeH="0" baseline="0" noProof="0" dirty="0">
                          <a:ln>
                            <a:noFill/>
                          </a:ln>
                          <a:solidFill>
                            <a:schemeClr val="tx1"/>
                          </a:solidFill>
                          <a:effectLst/>
                          <a:latin typeface="Arial" charset="0"/>
                        </a:rPr>
                        <a:t>Front </a:t>
                      </a:r>
                      <a:r>
                        <a:rPr kumimoji="0" lang="de-DE" sz="1200" b="1" i="0" u="none" strike="noStrike" cap="none" normalizeH="0" baseline="0" noProof="0" dirty="0" err="1">
                          <a:ln>
                            <a:noFill/>
                          </a:ln>
                          <a:solidFill>
                            <a:schemeClr val="tx1"/>
                          </a:solidFill>
                          <a:effectLst/>
                          <a:latin typeface="Arial" charset="0"/>
                        </a:rPr>
                        <a:t>Month</a:t>
                      </a:r>
                      <a:r>
                        <a:rPr kumimoji="0" lang="de-DE" sz="1200" b="1" i="0" u="none" strike="noStrike" cap="none" normalizeH="0" baseline="0" noProof="0" dirty="0">
                          <a:ln>
                            <a:noFill/>
                          </a:ln>
                          <a:solidFill>
                            <a:schemeClr val="tx1"/>
                          </a:solidFill>
                          <a:effectLst/>
                          <a:latin typeface="Arial" charset="0"/>
                        </a:rPr>
                        <a:t> </a:t>
                      </a:r>
                      <a:r>
                        <a:rPr kumimoji="0" lang="de-DE" sz="1200" b="1" i="0" u="none" strike="noStrike" cap="none" normalizeH="0" baseline="0" noProof="0" dirty="0" err="1">
                          <a:ln>
                            <a:noFill/>
                          </a:ln>
                          <a:solidFill>
                            <a:schemeClr val="tx1"/>
                          </a:solidFill>
                          <a:effectLst/>
                          <a:latin typeface="Arial" charset="0"/>
                        </a:rPr>
                        <a:t>Deseasoned</a:t>
                      </a:r>
                      <a:r>
                        <a:rPr kumimoji="0" lang="de-DE" sz="1200" b="1" i="0" u="none" strike="noStrike" cap="none" normalizeH="0" baseline="0" noProof="0" dirty="0">
                          <a:ln>
                            <a:noFill/>
                          </a:ln>
                          <a:solidFill>
                            <a:schemeClr val="tx1"/>
                          </a:solidFill>
                          <a:effectLst/>
                          <a:latin typeface="Arial" charset="0"/>
                        </a:rPr>
                        <a:t> FESX</a:t>
                      </a:r>
                      <a:endParaRPr kumimoji="0" lang="en-US" sz="1200" b="1" i="0" u="none" strike="noStrike" cap="none" normalizeH="0" baseline="0" noProof="0" dirty="0">
                        <a:ln>
                          <a:noFill/>
                        </a:ln>
                        <a:solidFill>
                          <a:schemeClr val="tx1"/>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1" i="0" u="none" strike="noStrike" cap="none" normalizeH="0" baseline="0" noProof="0" dirty="0">
                          <a:ln>
                            <a:noFill/>
                          </a:ln>
                          <a:solidFill>
                            <a:schemeClr val="tx1"/>
                          </a:solidFill>
                          <a:effectLst/>
                          <a:latin typeface="Arial" charset="0"/>
                        </a:rPr>
                        <a:t>VSTOXX </a:t>
                      </a:r>
                      <a:r>
                        <a:rPr kumimoji="0" lang="de-DE" sz="1200" b="1" i="0" u="none" strike="noStrike" cap="none" normalizeH="0" baseline="0" noProof="0" dirty="0" err="1">
                          <a:ln>
                            <a:noFill/>
                          </a:ln>
                          <a:solidFill>
                            <a:schemeClr val="tx1"/>
                          </a:solidFill>
                          <a:effectLst/>
                          <a:latin typeface="Arial" charset="0"/>
                        </a:rPr>
                        <a:t>Implied</a:t>
                      </a:r>
                      <a:r>
                        <a:rPr kumimoji="0" lang="de-DE" sz="1200" b="1" i="0" u="none" strike="noStrike" cap="none" normalizeH="0" baseline="0" noProof="0" dirty="0">
                          <a:ln>
                            <a:noFill/>
                          </a:ln>
                          <a:solidFill>
                            <a:schemeClr val="tx1"/>
                          </a:solidFill>
                          <a:effectLst/>
                          <a:latin typeface="Arial" charset="0"/>
                        </a:rPr>
                        <a:t> </a:t>
                      </a:r>
                      <a:r>
                        <a:rPr kumimoji="0" lang="de-DE" sz="1200" b="1" i="0" u="none" strike="noStrike" cap="none" normalizeH="0" baseline="0" noProof="0" dirty="0" err="1">
                          <a:ln>
                            <a:noFill/>
                          </a:ln>
                          <a:solidFill>
                            <a:schemeClr val="tx1"/>
                          </a:solidFill>
                          <a:effectLst/>
                          <a:latin typeface="Arial" charset="0"/>
                        </a:rPr>
                        <a:t>Volatility</a:t>
                      </a:r>
                      <a:endParaRPr kumimoji="0" lang="en-US" sz="1200" b="1" i="0" u="none" strike="noStrike" cap="none" normalizeH="0" baseline="0" noProof="0" dirty="0">
                        <a:ln>
                          <a:noFill/>
                        </a:ln>
                        <a:solidFill>
                          <a:schemeClr val="tx1"/>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1" i="0" u="none" strike="noStrike" cap="none" normalizeH="0" baseline="0" noProof="0" dirty="0">
                          <a:ln>
                            <a:noFill/>
                          </a:ln>
                          <a:solidFill>
                            <a:schemeClr val="tx1"/>
                          </a:solidFill>
                          <a:effectLst/>
                          <a:latin typeface="Arial" charset="0"/>
                        </a:rPr>
                        <a:t>25763</a:t>
                      </a:r>
                      <a:endParaRPr kumimoji="0" lang="en-US" sz="1200" b="1" i="0" u="none" strike="noStrike" cap="none" normalizeH="0" baseline="0" noProof="0" dirty="0">
                        <a:ln>
                          <a:noFill/>
                        </a:ln>
                        <a:solidFill>
                          <a:schemeClr val="tx1"/>
                        </a:solidFill>
                        <a:effectLst/>
                        <a:latin typeface="Arial" charset="0"/>
                      </a:endParaRPr>
                    </a:p>
                  </a:txBody>
                  <a:tcPr marL="90000" marR="90000" marT="61200" marB="61200" anchor="ctr" horzOverflow="overflow"/>
                </a:tc>
                <a:extLst>
                  <a:ext uri="{0D108BD9-81ED-4DB2-BD59-A6C34878D82A}">
                    <a16:rowId xmlns:a16="http://schemas.microsoft.com/office/drawing/2014/main" val="3944865922"/>
                  </a:ext>
                </a:extLst>
              </a:tr>
              <a:tr h="292314">
                <a:tc vMerge="1">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defRPr/>
                      </a:pPr>
                      <a:r>
                        <a:rPr kumimoji="0" lang="de-DE" sz="1200" b="1" i="0" u="none" strike="noStrike" cap="none" normalizeH="0" baseline="0" noProof="0" dirty="0">
                          <a:ln>
                            <a:noFill/>
                          </a:ln>
                          <a:solidFill>
                            <a:schemeClr val="tx1"/>
                          </a:solidFill>
                          <a:effectLst/>
                          <a:latin typeface="Arial" charset="0"/>
                        </a:rPr>
                        <a:t>Front </a:t>
                      </a:r>
                      <a:r>
                        <a:rPr kumimoji="0" lang="de-DE" sz="1200" b="1" i="0" u="none" strike="noStrike" cap="none" normalizeH="0" baseline="0" noProof="0" dirty="0" err="1">
                          <a:ln>
                            <a:noFill/>
                          </a:ln>
                          <a:solidFill>
                            <a:schemeClr val="tx1"/>
                          </a:solidFill>
                          <a:effectLst/>
                          <a:latin typeface="Arial" charset="0"/>
                        </a:rPr>
                        <a:t>Month</a:t>
                      </a:r>
                      <a:r>
                        <a:rPr kumimoji="0" lang="de-DE" sz="1200" b="1" i="0" u="none" strike="noStrike" cap="none" normalizeH="0" baseline="0" noProof="0" dirty="0">
                          <a:ln>
                            <a:noFill/>
                          </a:ln>
                          <a:solidFill>
                            <a:schemeClr val="tx1"/>
                          </a:solidFill>
                          <a:effectLst/>
                          <a:latin typeface="Arial" charset="0"/>
                        </a:rPr>
                        <a:t> </a:t>
                      </a:r>
                      <a:r>
                        <a:rPr kumimoji="0" lang="de-DE" sz="1200" b="1" i="0" u="none" strike="noStrike" cap="none" normalizeH="0" baseline="0" noProof="0" dirty="0" err="1">
                          <a:ln>
                            <a:noFill/>
                          </a:ln>
                          <a:solidFill>
                            <a:schemeClr val="tx1"/>
                          </a:solidFill>
                          <a:effectLst/>
                          <a:latin typeface="Arial" charset="0"/>
                        </a:rPr>
                        <a:t>Deseasoned</a:t>
                      </a:r>
                      <a:r>
                        <a:rPr kumimoji="0" lang="de-DE" sz="1200" b="1" i="0" u="none" strike="noStrike" cap="none" normalizeH="0" baseline="0" noProof="0" dirty="0">
                          <a:ln>
                            <a:noFill/>
                          </a:ln>
                          <a:solidFill>
                            <a:schemeClr val="tx1"/>
                          </a:solidFill>
                          <a:effectLst/>
                          <a:latin typeface="Arial" charset="0"/>
                        </a:rPr>
                        <a:t> FESX</a:t>
                      </a:r>
                      <a:endParaRPr kumimoji="0" lang="en-US" sz="1200" b="1" i="0" u="none" strike="noStrike" cap="none" normalizeH="0" baseline="0" noProof="0" dirty="0">
                        <a:ln>
                          <a:noFill/>
                        </a:ln>
                        <a:solidFill>
                          <a:schemeClr val="tx1"/>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1" i="0" u="none" strike="noStrike" cap="none" normalizeH="0" baseline="0" noProof="0" dirty="0" err="1">
                          <a:ln>
                            <a:noFill/>
                          </a:ln>
                          <a:solidFill>
                            <a:schemeClr val="tx2"/>
                          </a:solidFill>
                          <a:effectLst/>
                          <a:latin typeface="Arial" charset="0"/>
                        </a:rPr>
                        <a:t>Implied</a:t>
                      </a:r>
                      <a:r>
                        <a:rPr kumimoji="0" lang="de-DE" sz="1200" b="1" i="0" u="none" strike="noStrike" cap="none" normalizeH="0" baseline="0" noProof="0" dirty="0">
                          <a:ln>
                            <a:noFill/>
                          </a:ln>
                          <a:solidFill>
                            <a:schemeClr val="tx2"/>
                          </a:solidFill>
                          <a:effectLst/>
                          <a:latin typeface="Arial" charset="0"/>
                        </a:rPr>
                        <a:t> </a:t>
                      </a:r>
                      <a:r>
                        <a:rPr kumimoji="0" lang="de-DE" sz="1200" b="1" i="0" u="none" strike="noStrike" cap="none" normalizeH="0" baseline="0" noProof="0" dirty="0" err="1">
                          <a:ln>
                            <a:noFill/>
                          </a:ln>
                          <a:solidFill>
                            <a:schemeClr val="tx2"/>
                          </a:solidFill>
                          <a:effectLst/>
                          <a:latin typeface="Arial" charset="0"/>
                        </a:rPr>
                        <a:t>Volatility</a:t>
                      </a:r>
                      <a:r>
                        <a:rPr kumimoji="0" lang="de-DE" sz="1200" b="1" i="0" u="none" strike="noStrike" cap="none" normalizeH="0" baseline="0" noProof="0" dirty="0">
                          <a:ln>
                            <a:noFill/>
                          </a:ln>
                          <a:solidFill>
                            <a:schemeClr val="tx2"/>
                          </a:solidFill>
                          <a:effectLst/>
                          <a:latin typeface="Arial" charset="0"/>
                        </a:rPr>
                        <a:t> – </a:t>
                      </a:r>
                      <a:r>
                        <a:rPr kumimoji="0" lang="de-DE" sz="1200" b="1" i="0" u="none" strike="noStrike" cap="none" normalizeH="0" baseline="0" noProof="0" dirty="0" err="1">
                          <a:ln>
                            <a:noFill/>
                          </a:ln>
                          <a:solidFill>
                            <a:schemeClr val="tx2"/>
                          </a:solidFill>
                          <a:effectLst/>
                          <a:latin typeface="Arial" charset="0"/>
                        </a:rPr>
                        <a:t>Realized</a:t>
                      </a:r>
                      <a:r>
                        <a:rPr kumimoji="0" lang="de-DE" sz="1200" b="1" i="0" u="none" strike="noStrike" cap="none" normalizeH="0" baseline="0" noProof="0" dirty="0">
                          <a:ln>
                            <a:noFill/>
                          </a:ln>
                          <a:solidFill>
                            <a:schemeClr val="tx2"/>
                          </a:solidFill>
                          <a:effectLst/>
                          <a:latin typeface="Arial" charset="0"/>
                        </a:rPr>
                        <a:t> </a:t>
                      </a:r>
                      <a:r>
                        <a:rPr kumimoji="0" lang="de-DE" sz="1200" b="1" i="0" u="none" strike="noStrike" cap="none" normalizeH="0" baseline="0" noProof="0" dirty="0" err="1">
                          <a:ln>
                            <a:noFill/>
                          </a:ln>
                          <a:solidFill>
                            <a:schemeClr val="tx2"/>
                          </a:solidFill>
                          <a:effectLst/>
                          <a:latin typeface="Arial" charset="0"/>
                        </a:rPr>
                        <a:t>Volatility</a:t>
                      </a:r>
                      <a:r>
                        <a:rPr kumimoji="0" lang="de-DE" sz="1200" b="1" i="0" u="none" strike="noStrike" cap="none" normalizeH="0" baseline="0" noProof="0" dirty="0">
                          <a:ln>
                            <a:noFill/>
                          </a:ln>
                          <a:solidFill>
                            <a:schemeClr val="tx2"/>
                          </a:solidFill>
                          <a:effectLst/>
                          <a:latin typeface="Arial" charset="0"/>
                        </a:rPr>
                        <a:t> (</a:t>
                      </a:r>
                      <a:r>
                        <a:rPr kumimoji="0" lang="de-DE" sz="1200" b="1" i="0" u="none" strike="noStrike" cap="none" normalizeH="0" baseline="0" noProof="0" dirty="0" err="1">
                          <a:ln>
                            <a:noFill/>
                          </a:ln>
                          <a:solidFill>
                            <a:schemeClr val="tx2"/>
                          </a:solidFill>
                          <a:effectLst/>
                          <a:latin typeface="Arial" charset="0"/>
                        </a:rPr>
                        <a:t>no</a:t>
                      </a:r>
                      <a:r>
                        <a:rPr kumimoji="0" lang="de-DE" sz="1200" b="1" i="0" u="none" strike="noStrike" cap="none" normalizeH="0" baseline="0" noProof="0" dirty="0">
                          <a:ln>
                            <a:noFill/>
                          </a:ln>
                          <a:solidFill>
                            <a:schemeClr val="tx2"/>
                          </a:solidFill>
                          <a:effectLst/>
                          <a:latin typeface="Arial" charset="0"/>
                        </a:rPr>
                        <a:t> lag)</a:t>
                      </a:r>
                      <a:endParaRPr kumimoji="0" lang="en-US" sz="1200" b="1" i="0" u="none" strike="noStrike" cap="none" normalizeH="0" baseline="0" noProof="0" dirty="0">
                        <a:ln>
                          <a:noFill/>
                        </a:ln>
                        <a:solidFill>
                          <a:schemeClr val="tx2"/>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1" i="0" u="none" strike="noStrike" cap="none" normalizeH="0" baseline="0" noProof="0" dirty="0">
                          <a:ln>
                            <a:noFill/>
                          </a:ln>
                          <a:solidFill>
                            <a:schemeClr val="tx2"/>
                          </a:solidFill>
                          <a:effectLst/>
                          <a:latin typeface="Arial" charset="0"/>
                        </a:rPr>
                        <a:t>11889</a:t>
                      </a:r>
                      <a:endParaRPr kumimoji="0" lang="en-US" sz="1200" b="1" i="0" u="none" strike="noStrike" cap="none" normalizeH="0" baseline="0" noProof="0" dirty="0">
                        <a:ln>
                          <a:noFill/>
                        </a:ln>
                        <a:solidFill>
                          <a:schemeClr val="tx2"/>
                        </a:solidFill>
                        <a:effectLst/>
                        <a:latin typeface="Arial" charset="0"/>
                      </a:endParaRPr>
                    </a:p>
                  </a:txBody>
                  <a:tcPr marL="90000" marR="90000" marT="61200" marB="61200" anchor="ctr" horzOverflow="overflow"/>
                </a:tc>
                <a:extLst>
                  <a:ext uri="{0D108BD9-81ED-4DB2-BD59-A6C34878D82A}">
                    <a16:rowId xmlns:a16="http://schemas.microsoft.com/office/drawing/2014/main" val="925022502"/>
                  </a:ext>
                </a:extLst>
              </a:tr>
              <a:tr h="292314">
                <a:tc vMerge="1">
                  <a:txBody>
                    <a:bodyPr/>
                    <a:lstStyle/>
                    <a:p>
                      <a:pPr marL="0" marR="0" lvl="0" indent="0" algn="l" defTabSz="249238" rtl="0" eaLnBrk="1" fontAlgn="base" latinLnBrk="0" hangingPunct="1">
                        <a:lnSpc>
                          <a:spcPct val="100000"/>
                        </a:lnSpc>
                        <a:spcBef>
                          <a:spcPct val="0"/>
                        </a:spcBef>
                        <a:spcAft>
                          <a:spcPct val="0"/>
                        </a:spcAft>
                        <a:buClr>
                          <a:schemeClr val="tx2"/>
                        </a:buClr>
                        <a:buSzTx/>
                        <a:buFontTx/>
                        <a:buNone/>
                        <a:tabLst/>
                        <a:defRPr/>
                      </a:pPr>
                      <a:r>
                        <a:rPr kumimoji="0" lang="de-DE" sz="1200" b="1" i="0" u="none" strike="noStrike" cap="none" normalizeH="0" baseline="0" noProof="0" dirty="0">
                          <a:ln>
                            <a:noFill/>
                          </a:ln>
                          <a:solidFill>
                            <a:schemeClr val="tx1"/>
                          </a:solidFill>
                          <a:effectLst/>
                          <a:latin typeface="Arial" charset="0"/>
                        </a:rPr>
                        <a:t>Front </a:t>
                      </a:r>
                      <a:r>
                        <a:rPr kumimoji="0" lang="de-DE" sz="1200" b="1" i="0" u="none" strike="noStrike" cap="none" normalizeH="0" baseline="0" noProof="0" dirty="0" err="1">
                          <a:ln>
                            <a:noFill/>
                          </a:ln>
                          <a:solidFill>
                            <a:schemeClr val="tx1"/>
                          </a:solidFill>
                          <a:effectLst/>
                          <a:latin typeface="Arial" charset="0"/>
                        </a:rPr>
                        <a:t>Month</a:t>
                      </a:r>
                      <a:r>
                        <a:rPr kumimoji="0" lang="de-DE" sz="1200" b="1" i="0" u="none" strike="noStrike" cap="none" normalizeH="0" baseline="0" noProof="0" dirty="0">
                          <a:ln>
                            <a:noFill/>
                          </a:ln>
                          <a:solidFill>
                            <a:schemeClr val="tx1"/>
                          </a:solidFill>
                          <a:effectLst/>
                          <a:latin typeface="Arial" charset="0"/>
                        </a:rPr>
                        <a:t> </a:t>
                      </a:r>
                      <a:r>
                        <a:rPr kumimoji="0" lang="de-DE" sz="1200" b="1" i="0" u="none" strike="noStrike" cap="none" normalizeH="0" baseline="0" noProof="0" dirty="0" err="1">
                          <a:ln>
                            <a:noFill/>
                          </a:ln>
                          <a:solidFill>
                            <a:schemeClr val="tx1"/>
                          </a:solidFill>
                          <a:effectLst/>
                          <a:latin typeface="Arial" charset="0"/>
                        </a:rPr>
                        <a:t>Deseasoned</a:t>
                      </a:r>
                      <a:r>
                        <a:rPr kumimoji="0" lang="de-DE" sz="1200" b="1" i="0" u="none" strike="noStrike" cap="none" normalizeH="0" baseline="0" noProof="0" dirty="0">
                          <a:ln>
                            <a:noFill/>
                          </a:ln>
                          <a:solidFill>
                            <a:schemeClr val="tx1"/>
                          </a:solidFill>
                          <a:effectLst/>
                          <a:latin typeface="Arial" charset="0"/>
                        </a:rPr>
                        <a:t> FESX</a:t>
                      </a:r>
                      <a:endParaRPr kumimoji="0" lang="en-US" sz="1200" b="1" i="0" u="none" strike="noStrike" cap="none" normalizeH="0" baseline="0" noProof="0" dirty="0">
                        <a:ln>
                          <a:noFill/>
                        </a:ln>
                        <a:solidFill>
                          <a:schemeClr val="tx1"/>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1" i="0" u="none" strike="noStrike" cap="none" normalizeH="0" baseline="0" noProof="0" dirty="0" err="1">
                          <a:ln>
                            <a:noFill/>
                          </a:ln>
                          <a:solidFill>
                            <a:schemeClr val="accent3"/>
                          </a:solidFill>
                          <a:effectLst/>
                          <a:latin typeface="Arial" charset="0"/>
                        </a:rPr>
                        <a:t>Implied</a:t>
                      </a:r>
                      <a:r>
                        <a:rPr kumimoji="0" lang="de-DE" sz="1200" b="1" i="0" u="none" strike="noStrike" cap="none" normalizeH="0" baseline="0" noProof="0" dirty="0">
                          <a:ln>
                            <a:noFill/>
                          </a:ln>
                          <a:solidFill>
                            <a:schemeClr val="accent3"/>
                          </a:solidFill>
                          <a:effectLst/>
                          <a:latin typeface="Arial" charset="0"/>
                        </a:rPr>
                        <a:t> </a:t>
                      </a:r>
                      <a:r>
                        <a:rPr kumimoji="0" lang="de-DE" sz="1200" b="1" i="0" u="none" strike="noStrike" cap="none" normalizeH="0" baseline="0" noProof="0" dirty="0" err="1">
                          <a:ln>
                            <a:noFill/>
                          </a:ln>
                          <a:solidFill>
                            <a:schemeClr val="accent3"/>
                          </a:solidFill>
                          <a:effectLst/>
                          <a:latin typeface="Arial" charset="0"/>
                        </a:rPr>
                        <a:t>Volatility</a:t>
                      </a:r>
                      <a:r>
                        <a:rPr kumimoji="0" lang="de-DE" sz="1200" b="1" i="0" u="none" strike="noStrike" cap="none" normalizeH="0" baseline="0" noProof="0" dirty="0">
                          <a:ln>
                            <a:noFill/>
                          </a:ln>
                          <a:solidFill>
                            <a:schemeClr val="accent3"/>
                          </a:solidFill>
                          <a:effectLst/>
                          <a:latin typeface="Arial" charset="0"/>
                        </a:rPr>
                        <a:t> – </a:t>
                      </a:r>
                      <a:r>
                        <a:rPr kumimoji="0" lang="de-DE" sz="1200" b="1" i="0" u="none" strike="noStrike" cap="none" normalizeH="0" baseline="0" noProof="0" dirty="0" err="1">
                          <a:ln>
                            <a:noFill/>
                          </a:ln>
                          <a:solidFill>
                            <a:schemeClr val="accent3"/>
                          </a:solidFill>
                          <a:effectLst/>
                          <a:latin typeface="Arial" charset="0"/>
                        </a:rPr>
                        <a:t>Realized</a:t>
                      </a:r>
                      <a:r>
                        <a:rPr kumimoji="0" lang="de-DE" sz="1200" b="1" i="0" u="none" strike="noStrike" cap="none" normalizeH="0" baseline="0" noProof="0" dirty="0">
                          <a:ln>
                            <a:noFill/>
                          </a:ln>
                          <a:solidFill>
                            <a:schemeClr val="accent3"/>
                          </a:solidFill>
                          <a:effectLst/>
                          <a:latin typeface="Arial" charset="0"/>
                        </a:rPr>
                        <a:t> </a:t>
                      </a:r>
                      <a:r>
                        <a:rPr kumimoji="0" lang="de-DE" sz="1200" b="1" i="0" u="none" strike="noStrike" cap="none" normalizeH="0" baseline="0" noProof="0" dirty="0" err="1">
                          <a:ln>
                            <a:noFill/>
                          </a:ln>
                          <a:solidFill>
                            <a:schemeClr val="accent3"/>
                          </a:solidFill>
                          <a:effectLst/>
                          <a:latin typeface="Arial" charset="0"/>
                        </a:rPr>
                        <a:t>Volatility</a:t>
                      </a:r>
                      <a:r>
                        <a:rPr kumimoji="0" lang="de-DE" sz="1200" b="1" i="0" u="none" strike="noStrike" cap="none" normalizeH="0" baseline="0" noProof="0" dirty="0">
                          <a:ln>
                            <a:noFill/>
                          </a:ln>
                          <a:solidFill>
                            <a:schemeClr val="accent3"/>
                          </a:solidFill>
                          <a:effectLst/>
                          <a:latin typeface="Arial" charset="0"/>
                        </a:rPr>
                        <a:t> (</a:t>
                      </a:r>
                      <a:r>
                        <a:rPr kumimoji="0" lang="de-DE" sz="1200" b="1" i="0" u="none" strike="noStrike" cap="none" normalizeH="0" baseline="0" noProof="0" dirty="0" err="1">
                          <a:ln>
                            <a:noFill/>
                          </a:ln>
                          <a:solidFill>
                            <a:schemeClr val="accent3"/>
                          </a:solidFill>
                          <a:effectLst/>
                          <a:latin typeface="Arial" charset="0"/>
                        </a:rPr>
                        <a:t>lagged</a:t>
                      </a:r>
                      <a:r>
                        <a:rPr kumimoji="0" lang="de-DE" sz="1200" b="1" i="0" u="none" strike="noStrike" cap="none" normalizeH="0" baseline="0" noProof="0" dirty="0">
                          <a:ln>
                            <a:noFill/>
                          </a:ln>
                          <a:solidFill>
                            <a:schemeClr val="accent3"/>
                          </a:solidFill>
                          <a:effectLst/>
                          <a:latin typeface="Arial" charset="0"/>
                        </a:rPr>
                        <a:t>)</a:t>
                      </a:r>
                      <a:endParaRPr kumimoji="0" lang="en-US" sz="1200" b="1" i="0" u="none" strike="noStrike" cap="none" normalizeH="0" baseline="0" noProof="0" dirty="0">
                        <a:ln>
                          <a:noFill/>
                        </a:ln>
                        <a:solidFill>
                          <a:schemeClr val="accent3"/>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1" i="0" u="none" strike="noStrike" cap="none" normalizeH="0" baseline="0" noProof="0" dirty="0">
                          <a:ln>
                            <a:noFill/>
                          </a:ln>
                          <a:solidFill>
                            <a:schemeClr val="accent3"/>
                          </a:solidFill>
                          <a:effectLst/>
                          <a:latin typeface="Arial" charset="0"/>
                        </a:rPr>
                        <a:t>7674</a:t>
                      </a:r>
                      <a:endParaRPr kumimoji="0" lang="en-US" sz="1200" b="1" i="0" u="none" strike="noStrike" cap="none" normalizeH="0" baseline="0" noProof="0" dirty="0">
                        <a:ln>
                          <a:noFill/>
                        </a:ln>
                        <a:solidFill>
                          <a:schemeClr val="accent3"/>
                        </a:solidFill>
                        <a:effectLst/>
                        <a:latin typeface="Arial" charset="0"/>
                      </a:endParaRPr>
                    </a:p>
                  </a:txBody>
                  <a:tcPr marL="90000" marR="90000" marT="61200" marB="61200" anchor="ctr" horzOverflow="overflow"/>
                </a:tc>
                <a:extLst>
                  <a:ext uri="{0D108BD9-81ED-4DB2-BD59-A6C34878D82A}">
                    <a16:rowId xmlns:a16="http://schemas.microsoft.com/office/drawing/2014/main" val="1583945350"/>
                  </a:ext>
                </a:extLst>
              </a:tr>
              <a:tr h="292314">
                <a:tc vMerge="1">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u="none" strike="noStrike" cap="none" normalizeH="0" baseline="0" noProof="0" dirty="0">
                          <a:ln>
                            <a:noFill/>
                          </a:ln>
                          <a:solidFill>
                            <a:schemeClr val="tx1"/>
                          </a:solidFill>
                          <a:effectLst/>
                        </a:rPr>
                        <a:t>New</a:t>
                      </a:r>
                      <a:endParaRPr kumimoji="0" lang="en-US" sz="1200" b="1" i="0" u="none" strike="noStrike" cap="none" normalizeH="0" baseline="0" noProof="0" dirty="0">
                        <a:ln>
                          <a:noFill/>
                        </a:ln>
                        <a:solidFill>
                          <a:schemeClr val="tx1"/>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de-DE" sz="1200" b="1" i="0" u="none" strike="noStrike" cap="none" normalizeH="0" baseline="0" noProof="0" dirty="0" err="1">
                          <a:ln>
                            <a:noFill/>
                          </a:ln>
                          <a:solidFill>
                            <a:schemeClr val="tx1"/>
                          </a:solidFill>
                          <a:effectLst/>
                          <a:latin typeface="Arial" charset="0"/>
                        </a:rPr>
                        <a:t>Reconstructed</a:t>
                      </a:r>
                      <a:r>
                        <a:rPr kumimoji="0" lang="de-DE" sz="1200" b="1" i="0" u="none" strike="noStrike" cap="none" normalizeH="0" baseline="0" noProof="0" dirty="0">
                          <a:ln>
                            <a:noFill/>
                          </a:ln>
                          <a:solidFill>
                            <a:schemeClr val="tx1"/>
                          </a:solidFill>
                          <a:effectLst/>
                          <a:latin typeface="Arial" charset="0"/>
                        </a:rPr>
                        <a:t> </a:t>
                      </a:r>
                      <a:r>
                        <a:rPr kumimoji="0" lang="de-DE" sz="1200" b="1" i="0" u="none" strike="noStrike" cap="none" normalizeH="0" baseline="0" noProof="0" dirty="0" err="1">
                          <a:ln>
                            <a:noFill/>
                          </a:ln>
                          <a:solidFill>
                            <a:schemeClr val="tx1"/>
                          </a:solidFill>
                          <a:effectLst/>
                          <a:latin typeface="Arial" charset="0"/>
                        </a:rPr>
                        <a:t>Realized</a:t>
                      </a:r>
                      <a:r>
                        <a:rPr kumimoji="0" lang="de-DE" sz="1200" b="1" i="0" u="none" strike="noStrike" cap="none" normalizeH="0" baseline="0" noProof="0" dirty="0">
                          <a:ln>
                            <a:noFill/>
                          </a:ln>
                          <a:solidFill>
                            <a:schemeClr val="tx1"/>
                          </a:solidFill>
                          <a:effectLst/>
                          <a:latin typeface="Arial" charset="0"/>
                        </a:rPr>
                        <a:t> </a:t>
                      </a:r>
                      <a:r>
                        <a:rPr kumimoji="0" lang="de-DE" sz="1200" b="1" i="0" u="none" strike="noStrike" cap="none" normalizeH="0" baseline="0" noProof="0" dirty="0" err="1">
                          <a:ln>
                            <a:noFill/>
                          </a:ln>
                          <a:solidFill>
                            <a:schemeClr val="tx1"/>
                          </a:solidFill>
                          <a:effectLst/>
                          <a:latin typeface="Arial" charset="0"/>
                        </a:rPr>
                        <a:t>Volatility</a:t>
                      </a:r>
                      <a:r>
                        <a:rPr kumimoji="0" lang="en-US" sz="1200" b="1" i="0" u="none" strike="noStrike" cap="none" normalizeH="0" baseline="0" noProof="0" dirty="0">
                          <a:ln>
                            <a:noFill/>
                          </a:ln>
                          <a:solidFill>
                            <a:schemeClr val="tx1"/>
                          </a:solidFill>
                          <a:effectLst/>
                          <a:latin typeface="Arial" charset="0"/>
                        </a:rPr>
                        <a:t> (t-2)</a:t>
                      </a: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1" i="0" u="none" strike="noStrike" cap="none" normalizeH="0" baseline="0" noProof="0" dirty="0">
                          <a:ln>
                            <a:noFill/>
                          </a:ln>
                          <a:solidFill>
                            <a:schemeClr val="tx1"/>
                          </a:solidFill>
                          <a:effectLst/>
                          <a:latin typeface="Arial" charset="0"/>
                        </a:rPr>
                        <a:t>7908</a:t>
                      </a:r>
                      <a:endParaRPr kumimoji="0" lang="en-US" sz="1200" b="1" i="0" u="none" strike="noStrike" cap="none" normalizeH="0" baseline="0" noProof="0" dirty="0">
                        <a:ln>
                          <a:noFill/>
                        </a:ln>
                        <a:solidFill>
                          <a:schemeClr val="tx1"/>
                        </a:solidFill>
                        <a:effectLst/>
                        <a:latin typeface="Arial" charset="0"/>
                      </a:endParaRPr>
                    </a:p>
                  </a:txBody>
                  <a:tcPr marL="90000" marR="90000" marT="61200" marB="61200" anchor="ctr" horzOverflow="overflow"/>
                </a:tc>
                <a:extLst>
                  <a:ext uri="{0D108BD9-81ED-4DB2-BD59-A6C34878D82A}">
                    <a16:rowId xmlns:a16="http://schemas.microsoft.com/office/drawing/2014/main" val="4043013960"/>
                  </a:ext>
                </a:extLst>
              </a:tr>
              <a:tr h="292314">
                <a:tc v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200" b="1" i="0" u="none" strike="noStrike" cap="none" normalizeH="0" baseline="0" noProof="0" dirty="0">
                        <a:ln>
                          <a:noFill/>
                        </a:ln>
                        <a:solidFill>
                          <a:schemeClr val="tx1"/>
                        </a:solidFill>
                        <a:effectLst/>
                        <a:latin typeface="Arial" charset="0"/>
                      </a:endParaRPr>
                    </a:p>
                  </a:txBody>
                  <a:tcPr marL="90000" marR="90000" marT="61200" marB="61200" anchor="ctr" horzOverflow="overflow">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de-DE" sz="1200" b="1" i="0" u="none" strike="noStrike" cap="none" normalizeH="0" baseline="0" noProof="0" dirty="0">
                          <a:ln>
                            <a:noFill/>
                          </a:ln>
                          <a:solidFill>
                            <a:schemeClr val="tx1"/>
                          </a:solidFill>
                          <a:effectLst/>
                          <a:latin typeface="Arial" charset="0"/>
                        </a:rPr>
                        <a:t>VSTOXX </a:t>
                      </a:r>
                      <a:r>
                        <a:rPr kumimoji="0" lang="de-DE" sz="1200" b="1" i="0" u="none" strike="noStrike" cap="none" normalizeH="0" baseline="0" noProof="0" dirty="0" err="1">
                          <a:ln>
                            <a:noFill/>
                          </a:ln>
                          <a:solidFill>
                            <a:schemeClr val="tx1"/>
                          </a:solidFill>
                          <a:effectLst/>
                          <a:latin typeface="Arial" charset="0"/>
                        </a:rPr>
                        <a:t>Implied</a:t>
                      </a:r>
                      <a:r>
                        <a:rPr kumimoji="0" lang="de-DE" sz="1200" b="1" i="0" u="none" strike="noStrike" cap="none" normalizeH="0" baseline="0" noProof="0" dirty="0">
                          <a:ln>
                            <a:noFill/>
                          </a:ln>
                          <a:solidFill>
                            <a:schemeClr val="tx1"/>
                          </a:solidFill>
                          <a:effectLst/>
                          <a:latin typeface="Arial" charset="0"/>
                        </a:rPr>
                        <a:t> </a:t>
                      </a:r>
                      <a:r>
                        <a:rPr kumimoji="0" lang="de-DE" sz="1200" b="1" i="0" u="none" strike="noStrike" cap="none" normalizeH="0" baseline="0" noProof="0" dirty="0" err="1">
                          <a:ln>
                            <a:noFill/>
                          </a:ln>
                          <a:solidFill>
                            <a:schemeClr val="tx1"/>
                          </a:solidFill>
                          <a:effectLst/>
                          <a:latin typeface="Arial" charset="0"/>
                        </a:rPr>
                        <a:t>Volatility</a:t>
                      </a:r>
                      <a:r>
                        <a:rPr kumimoji="0" lang="de-DE" sz="1200" b="1" i="0" u="none" strike="noStrike" cap="none" normalizeH="0" baseline="0" noProof="0" dirty="0">
                          <a:ln>
                            <a:noFill/>
                          </a:ln>
                          <a:solidFill>
                            <a:schemeClr val="tx1"/>
                          </a:solidFill>
                          <a:effectLst/>
                          <a:latin typeface="Arial" charset="0"/>
                        </a:rPr>
                        <a:t> </a:t>
                      </a:r>
                      <a:r>
                        <a:rPr kumimoji="0" lang="en-US" sz="1200" b="1" i="0" u="none" strike="noStrike" cap="none" normalizeH="0" baseline="0" noProof="0" dirty="0">
                          <a:ln>
                            <a:noFill/>
                          </a:ln>
                          <a:solidFill>
                            <a:schemeClr val="tx1"/>
                          </a:solidFill>
                          <a:effectLst/>
                          <a:latin typeface="Arial" charset="0"/>
                        </a:rPr>
                        <a:t>(t-2)</a:t>
                      </a: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1" i="0" u="none" strike="noStrike" cap="none" normalizeH="0" baseline="0" noProof="0" dirty="0">
                          <a:ln>
                            <a:noFill/>
                          </a:ln>
                          <a:solidFill>
                            <a:schemeClr val="tx1"/>
                          </a:solidFill>
                          <a:effectLst/>
                          <a:latin typeface="Arial" charset="0"/>
                        </a:rPr>
                        <a:t>-18069</a:t>
                      </a:r>
                      <a:endParaRPr kumimoji="0" lang="en-US" sz="1200" b="1" i="0" u="none" strike="noStrike" cap="none" normalizeH="0" baseline="0" noProof="0" dirty="0">
                        <a:ln>
                          <a:noFill/>
                        </a:ln>
                        <a:solidFill>
                          <a:schemeClr val="tx1"/>
                        </a:solidFill>
                        <a:effectLst/>
                        <a:latin typeface="Arial" charset="0"/>
                      </a:endParaRPr>
                    </a:p>
                  </a:txBody>
                  <a:tcPr marL="90000" marR="90000" marT="61200" marB="61200" anchor="ctr" horzOverflow="overflow"/>
                </a:tc>
                <a:extLst>
                  <a:ext uri="{0D108BD9-81ED-4DB2-BD59-A6C34878D82A}">
                    <a16:rowId xmlns:a16="http://schemas.microsoft.com/office/drawing/2014/main" val="441140804"/>
                  </a:ext>
                </a:extLst>
              </a:tr>
              <a:tr h="321500">
                <a:tc>
                  <a:txBody>
                    <a:bodyPr/>
                    <a:lstStyle/>
                    <a:p>
                      <a:pPr marL="0" marR="0" lvl="0" indent="0" algn="ctr" defTabSz="249238" rtl="0" eaLnBrk="1" fontAlgn="base" latinLnBrk="0" hangingPunct="1">
                        <a:lnSpc>
                          <a:spcPct val="100000"/>
                        </a:lnSpc>
                        <a:spcBef>
                          <a:spcPct val="0"/>
                        </a:spcBef>
                        <a:spcAft>
                          <a:spcPct val="0"/>
                        </a:spcAft>
                        <a:buClr>
                          <a:schemeClr val="tx2"/>
                        </a:buClr>
                        <a:buSzTx/>
                        <a:buFontTx/>
                        <a:buNone/>
                        <a:tabLst/>
                      </a:pPr>
                      <a:endParaRPr kumimoji="0" lang="en-US" sz="1400" b="1" i="0" u="none" strike="noStrike" cap="none" normalizeH="0" baseline="0" noProof="0" dirty="0">
                        <a:ln>
                          <a:noFill/>
                        </a:ln>
                        <a:solidFill>
                          <a:schemeClr val="tx1"/>
                        </a:solidFill>
                        <a:effectLst/>
                        <a:latin typeface="Arial" charset="0"/>
                      </a:endParaRPr>
                    </a:p>
                  </a:txBody>
                  <a:tcPr marL="90000" marR="90000" marT="61200" marB="61200" anchor="ctr" horzOverflow="overflow">
                    <a:lnT w="6350" cap="flat" cmpd="sng" algn="ctr">
                      <a:noFill/>
                      <a:prstDash val="solid"/>
                    </a:lnT>
                    <a:lnB w="12700" cap="flat" cmpd="sng" algn="ctr">
                      <a:no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de-DE" sz="1200" b="1" i="0" u="none" strike="noStrike" cap="none" normalizeH="0" baseline="0" noProof="0" dirty="0" err="1">
                          <a:ln>
                            <a:noFill/>
                          </a:ln>
                          <a:solidFill>
                            <a:schemeClr val="tx2"/>
                          </a:solidFill>
                          <a:effectLst/>
                          <a:latin typeface="Arial" charset="0"/>
                        </a:rPr>
                        <a:t>Implied</a:t>
                      </a:r>
                      <a:r>
                        <a:rPr kumimoji="0" lang="de-DE" sz="1200" b="1" i="0" u="none" strike="noStrike" cap="none" normalizeH="0" baseline="0" noProof="0" dirty="0">
                          <a:ln>
                            <a:noFill/>
                          </a:ln>
                          <a:solidFill>
                            <a:schemeClr val="tx2"/>
                          </a:solidFill>
                          <a:effectLst/>
                          <a:latin typeface="Arial" charset="0"/>
                        </a:rPr>
                        <a:t> </a:t>
                      </a:r>
                      <a:r>
                        <a:rPr kumimoji="0" lang="de-DE" sz="1200" b="1" i="0" u="none" strike="noStrike" cap="none" normalizeH="0" baseline="0" noProof="0" dirty="0" err="1">
                          <a:ln>
                            <a:noFill/>
                          </a:ln>
                          <a:solidFill>
                            <a:schemeClr val="tx2"/>
                          </a:solidFill>
                          <a:effectLst/>
                          <a:latin typeface="Arial" charset="0"/>
                        </a:rPr>
                        <a:t>Volatility</a:t>
                      </a:r>
                      <a:r>
                        <a:rPr kumimoji="0" lang="de-DE" sz="1200" b="1" i="0" u="none" strike="noStrike" cap="none" normalizeH="0" baseline="0" noProof="0" dirty="0">
                          <a:ln>
                            <a:noFill/>
                          </a:ln>
                          <a:solidFill>
                            <a:schemeClr val="tx2"/>
                          </a:solidFill>
                          <a:effectLst/>
                          <a:latin typeface="Arial" charset="0"/>
                        </a:rPr>
                        <a:t> – </a:t>
                      </a:r>
                      <a:r>
                        <a:rPr kumimoji="0" lang="de-DE" sz="1200" b="1" i="0" u="none" strike="noStrike" cap="none" normalizeH="0" baseline="0" noProof="0" dirty="0" err="1">
                          <a:ln>
                            <a:noFill/>
                          </a:ln>
                          <a:solidFill>
                            <a:schemeClr val="tx2"/>
                          </a:solidFill>
                          <a:effectLst/>
                          <a:latin typeface="Arial" charset="0"/>
                        </a:rPr>
                        <a:t>Realized</a:t>
                      </a:r>
                      <a:r>
                        <a:rPr kumimoji="0" lang="de-DE" sz="1200" b="1" i="0" u="none" strike="noStrike" cap="none" normalizeH="0" baseline="0" noProof="0" dirty="0">
                          <a:ln>
                            <a:noFill/>
                          </a:ln>
                          <a:solidFill>
                            <a:schemeClr val="tx2"/>
                          </a:solidFill>
                          <a:effectLst/>
                          <a:latin typeface="Arial" charset="0"/>
                        </a:rPr>
                        <a:t> </a:t>
                      </a:r>
                      <a:r>
                        <a:rPr kumimoji="0" lang="de-DE" sz="1200" b="1" i="0" u="none" strike="noStrike" cap="none" normalizeH="0" baseline="0" noProof="0" dirty="0" err="1">
                          <a:ln>
                            <a:noFill/>
                          </a:ln>
                          <a:solidFill>
                            <a:schemeClr val="tx2"/>
                          </a:solidFill>
                          <a:effectLst/>
                          <a:latin typeface="Arial" charset="0"/>
                        </a:rPr>
                        <a:t>Volatility</a:t>
                      </a:r>
                      <a:r>
                        <a:rPr kumimoji="0" lang="de-DE" sz="1200" b="1" i="0" u="none" strike="noStrike" cap="none" normalizeH="0" baseline="0" noProof="0" dirty="0">
                          <a:ln>
                            <a:noFill/>
                          </a:ln>
                          <a:solidFill>
                            <a:schemeClr val="tx2"/>
                          </a:solidFill>
                          <a:effectLst/>
                          <a:latin typeface="Arial" charset="0"/>
                        </a:rPr>
                        <a:t> (</a:t>
                      </a:r>
                      <a:r>
                        <a:rPr kumimoji="0" lang="de-DE" sz="1200" b="1" i="0" u="none" strike="noStrike" cap="none" normalizeH="0" baseline="0" noProof="0" dirty="0" err="1">
                          <a:ln>
                            <a:noFill/>
                          </a:ln>
                          <a:solidFill>
                            <a:schemeClr val="tx2"/>
                          </a:solidFill>
                          <a:effectLst/>
                          <a:latin typeface="Arial" charset="0"/>
                        </a:rPr>
                        <a:t>no</a:t>
                      </a:r>
                      <a:r>
                        <a:rPr kumimoji="0" lang="de-DE" sz="1200" b="1" i="0" u="none" strike="noStrike" cap="none" normalizeH="0" baseline="0" noProof="0" dirty="0">
                          <a:ln>
                            <a:noFill/>
                          </a:ln>
                          <a:solidFill>
                            <a:schemeClr val="tx2"/>
                          </a:solidFill>
                          <a:effectLst/>
                          <a:latin typeface="Arial" charset="0"/>
                        </a:rPr>
                        <a:t> lag) (t-2)</a:t>
                      </a:r>
                      <a:endParaRPr kumimoji="0" lang="en-US" sz="1200" b="1" i="0" u="none" strike="noStrike" cap="none" normalizeH="0" baseline="0" noProof="0" dirty="0">
                        <a:ln>
                          <a:noFill/>
                        </a:ln>
                        <a:solidFill>
                          <a:schemeClr val="tx2"/>
                        </a:solidFill>
                        <a:effectLst/>
                        <a:latin typeface="Arial" charset="0"/>
                      </a:endParaRPr>
                    </a:p>
                  </a:txBody>
                  <a:tcPr marL="90000" marR="90000" marT="61200" marB="61200" anchor="ctr" horzOverflow="overflow"/>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1" i="0" u="none" strike="noStrike" cap="none" normalizeH="0" baseline="0" noProof="0" dirty="0">
                          <a:ln>
                            <a:noFill/>
                          </a:ln>
                          <a:solidFill>
                            <a:schemeClr val="tx2"/>
                          </a:solidFill>
                          <a:effectLst/>
                          <a:latin typeface="Arial" charset="0"/>
                        </a:rPr>
                        <a:t>-6146</a:t>
                      </a:r>
                      <a:endParaRPr kumimoji="0" lang="en-US" sz="1200" b="1" i="0" u="none" strike="noStrike" cap="none" normalizeH="0" baseline="0" noProof="0" dirty="0">
                        <a:ln>
                          <a:noFill/>
                        </a:ln>
                        <a:solidFill>
                          <a:schemeClr val="tx2"/>
                        </a:solidFill>
                        <a:effectLst/>
                        <a:latin typeface="Arial" charset="0"/>
                      </a:endParaRPr>
                    </a:p>
                  </a:txBody>
                  <a:tcPr marL="90000" marR="90000" marT="61200" marB="61200" anchor="ctr" horzOverflow="overflow"/>
                </a:tc>
                <a:extLst>
                  <a:ext uri="{0D108BD9-81ED-4DB2-BD59-A6C34878D82A}">
                    <a16:rowId xmlns:a16="http://schemas.microsoft.com/office/drawing/2014/main" val="3986791457"/>
                  </a:ext>
                </a:extLst>
              </a:tr>
              <a:tr h="321500">
                <a:tc>
                  <a:txBody>
                    <a:bodyPr/>
                    <a:lstStyle/>
                    <a:p>
                      <a:pPr marL="0" marR="0" lvl="0" indent="0" algn="ctr" defTabSz="249238" rtl="0" eaLnBrk="1" fontAlgn="base" latinLnBrk="0" hangingPunct="1">
                        <a:lnSpc>
                          <a:spcPct val="100000"/>
                        </a:lnSpc>
                        <a:spcBef>
                          <a:spcPct val="0"/>
                        </a:spcBef>
                        <a:spcAft>
                          <a:spcPct val="0"/>
                        </a:spcAft>
                        <a:buClr>
                          <a:schemeClr val="tx2"/>
                        </a:buClr>
                        <a:buSzTx/>
                        <a:buFontTx/>
                        <a:buNone/>
                        <a:tabLst/>
                      </a:pPr>
                      <a:endParaRPr kumimoji="0" lang="en-US" sz="1400" b="1" i="0" u="none" strike="noStrike" cap="none" normalizeH="0" baseline="0" noProof="0" dirty="0">
                        <a:ln>
                          <a:noFill/>
                        </a:ln>
                        <a:solidFill>
                          <a:schemeClr val="tx1"/>
                        </a:solidFill>
                        <a:effectLst/>
                        <a:latin typeface="Arial" charset="0"/>
                      </a:endParaRPr>
                    </a:p>
                  </a:txBody>
                  <a:tcPr marL="90000" marR="90000" marT="61200" marB="61200" anchor="ctr" horzOverflow="overflow">
                    <a:lnT w="6350" cap="flat" cmpd="sng" algn="ctr">
                      <a:noFill/>
                      <a:prstDash val="soli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de-DE" sz="1200" b="1" i="0" u="none" strike="noStrike" cap="none" normalizeH="0" baseline="0" noProof="0" dirty="0" err="1">
                          <a:ln>
                            <a:noFill/>
                          </a:ln>
                          <a:solidFill>
                            <a:schemeClr val="accent3"/>
                          </a:solidFill>
                          <a:effectLst/>
                          <a:latin typeface="Arial" charset="0"/>
                        </a:rPr>
                        <a:t>Implied</a:t>
                      </a:r>
                      <a:r>
                        <a:rPr kumimoji="0" lang="de-DE" sz="1200" b="1" i="0" u="none" strike="noStrike" cap="none" normalizeH="0" baseline="0" noProof="0" dirty="0">
                          <a:ln>
                            <a:noFill/>
                          </a:ln>
                          <a:solidFill>
                            <a:schemeClr val="accent3"/>
                          </a:solidFill>
                          <a:effectLst/>
                          <a:latin typeface="Arial" charset="0"/>
                        </a:rPr>
                        <a:t> </a:t>
                      </a:r>
                      <a:r>
                        <a:rPr kumimoji="0" lang="de-DE" sz="1200" b="1" i="0" u="none" strike="noStrike" cap="none" normalizeH="0" baseline="0" noProof="0" dirty="0" err="1">
                          <a:ln>
                            <a:noFill/>
                          </a:ln>
                          <a:solidFill>
                            <a:schemeClr val="accent3"/>
                          </a:solidFill>
                          <a:effectLst/>
                          <a:latin typeface="Arial" charset="0"/>
                        </a:rPr>
                        <a:t>Volatility</a:t>
                      </a:r>
                      <a:r>
                        <a:rPr kumimoji="0" lang="de-DE" sz="1200" b="1" i="0" u="none" strike="noStrike" cap="none" normalizeH="0" baseline="0" noProof="0" dirty="0">
                          <a:ln>
                            <a:noFill/>
                          </a:ln>
                          <a:solidFill>
                            <a:schemeClr val="accent3"/>
                          </a:solidFill>
                          <a:effectLst/>
                          <a:latin typeface="Arial" charset="0"/>
                        </a:rPr>
                        <a:t> – </a:t>
                      </a:r>
                      <a:r>
                        <a:rPr kumimoji="0" lang="de-DE" sz="1200" b="1" i="0" u="none" strike="noStrike" cap="none" normalizeH="0" baseline="0" noProof="0" dirty="0" err="1">
                          <a:ln>
                            <a:noFill/>
                          </a:ln>
                          <a:solidFill>
                            <a:schemeClr val="accent3"/>
                          </a:solidFill>
                          <a:effectLst/>
                          <a:latin typeface="Arial" charset="0"/>
                        </a:rPr>
                        <a:t>Realized</a:t>
                      </a:r>
                      <a:r>
                        <a:rPr kumimoji="0" lang="de-DE" sz="1200" b="1" i="0" u="none" strike="noStrike" cap="none" normalizeH="0" baseline="0" noProof="0" dirty="0">
                          <a:ln>
                            <a:noFill/>
                          </a:ln>
                          <a:solidFill>
                            <a:schemeClr val="accent3"/>
                          </a:solidFill>
                          <a:effectLst/>
                          <a:latin typeface="Arial" charset="0"/>
                        </a:rPr>
                        <a:t> </a:t>
                      </a:r>
                      <a:r>
                        <a:rPr kumimoji="0" lang="de-DE" sz="1200" b="1" i="0" u="none" strike="noStrike" cap="none" normalizeH="0" baseline="0" noProof="0" dirty="0" err="1">
                          <a:ln>
                            <a:noFill/>
                          </a:ln>
                          <a:solidFill>
                            <a:schemeClr val="accent3"/>
                          </a:solidFill>
                          <a:effectLst/>
                          <a:latin typeface="Arial" charset="0"/>
                        </a:rPr>
                        <a:t>Volatility</a:t>
                      </a:r>
                      <a:r>
                        <a:rPr kumimoji="0" lang="de-DE" sz="1200" b="1" i="0" u="none" strike="noStrike" cap="none" normalizeH="0" baseline="0" noProof="0" dirty="0">
                          <a:ln>
                            <a:noFill/>
                          </a:ln>
                          <a:solidFill>
                            <a:schemeClr val="accent3"/>
                          </a:solidFill>
                          <a:effectLst/>
                          <a:latin typeface="Arial" charset="0"/>
                        </a:rPr>
                        <a:t> (</a:t>
                      </a:r>
                      <a:r>
                        <a:rPr kumimoji="0" lang="de-DE" sz="1200" b="1" i="0" u="none" strike="noStrike" cap="none" normalizeH="0" baseline="0" noProof="0" dirty="0" err="1">
                          <a:ln>
                            <a:noFill/>
                          </a:ln>
                          <a:solidFill>
                            <a:schemeClr val="accent3"/>
                          </a:solidFill>
                          <a:effectLst/>
                          <a:latin typeface="Arial" charset="0"/>
                        </a:rPr>
                        <a:t>lagged</a:t>
                      </a:r>
                      <a:r>
                        <a:rPr kumimoji="0" lang="de-DE" sz="1200" b="1" i="0" u="none" strike="noStrike" cap="none" normalizeH="0" baseline="0" noProof="0" dirty="0">
                          <a:ln>
                            <a:noFill/>
                          </a:ln>
                          <a:solidFill>
                            <a:schemeClr val="accent3"/>
                          </a:solidFill>
                          <a:effectLst/>
                          <a:latin typeface="Arial" charset="0"/>
                        </a:rPr>
                        <a:t>)</a:t>
                      </a:r>
                      <a:r>
                        <a:rPr kumimoji="0" lang="en-US" sz="1200" b="1" i="0" u="none" strike="noStrike" cap="none" normalizeH="0" baseline="0" noProof="0" dirty="0">
                          <a:ln>
                            <a:noFill/>
                          </a:ln>
                          <a:solidFill>
                            <a:schemeClr val="accent3"/>
                          </a:solidFill>
                          <a:effectLst/>
                          <a:latin typeface="Arial" charset="0"/>
                        </a:rPr>
                        <a:t>(t-2)</a:t>
                      </a:r>
                    </a:p>
                  </a:txBody>
                  <a:tcPr marL="90000" marR="90000" marT="61200" marB="61200" anchor="ctr" horzOverflow="overflow">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sz="1200" b="1" i="0" u="none" strike="noStrike" cap="none" normalizeH="0" baseline="0" noProof="0" dirty="0">
                          <a:ln>
                            <a:noFill/>
                          </a:ln>
                          <a:solidFill>
                            <a:schemeClr val="accent3"/>
                          </a:solidFill>
                          <a:effectLst/>
                          <a:latin typeface="Arial" charset="0"/>
                        </a:rPr>
                        <a:t>-9791</a:t>
                      </a:r>
                      <a:endParaRPr kumimoji="0" lang="en-US" sz="1200" b="1" i="0" u="none" strike="noStrike" cap="none" normalizeH="0" baseline="0" noProof="0" dirty="0">
                        <a:ln>
                          <a:noFill/>
                        </a:ln>
                        <a:solidFill>
                          <a:schemeClr val="accent3"/>
                        </a:solidFill>
                        <a:effectLst/>
                        <a:latin typeface="Arial" charset="0"/>
                      </a:endParaRPr>
                    </a:p>
                  </a:txBody>
                  <a:tcPr marL="90000" marR="90000" marT="61200" marB="61200" anchor="ctr" horzOverflow="overflow">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60234023"/>
                  </a:ext>
                </a:extLst>
              </a:tr>
            </a:tbl>
          </a:graphicData>
        </a:graphic>
      </p:graphicFrame>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209316FD-DB4E-4B08-B464-BFE4F20D849D}"/>
                  </a:ext>
                </a:extLst>
              </p:cNvPr>
              <p:cNvSpPr txBox="1"/>
              <p:nvPr/>
            </p:nvSpPr>
            <p:spPr>
              <a:xfrm>
                <a:off x="587375" y="1013751"/>
                <a:ext cx="10945150" cy="1180809"/>
              </a:xfrm>
              <a:prstGeom prst="rect">
                <a:avLst/>
              </a:prstGeom>
              <a:noFill/>
            </p:spPr>
            <p:txBody>
              <a:bodyPr wrap="square" lIns="0" tIns="0" rIns="0" bIns="0" rtlCol="0">
                <a:noAutofit/>
              </a:bodyPr>
              <a:lstStyle/>
              <a:p>
                <a:pPr marL="285750" indent="-285750" algn="l">
                  <a:buFont typeface="Wingdings" panose="05000000000000000000" pitchFamily="2" charset="2"/>
                  <a:buChar char="§"/>
                </a:pPr>
                <a:r>
                  <a:rPr lang="de-DE" sz="1400" dirty="0"/>
                  <a:t>Vector </a:t>
                </a:r>
                <a:r>
                  <a:rPr lang="de-DE" sz="1400" dirty="0" err="1"/>
                  <a:t>Autoegression</a:t>
                </a:r>
                <a:r>
                  <a:rPr lang="de-DE" sz="1400" dirty="0"/>
                  <a:t> Models </a:t>
                </a:r>
                <a:r>
                  <a:rPr lang="de-DE" sz="1400" dirty="0" err="1"/>
                  <a:t>allow</a:t>
                </a:r>
                <a:r>
                  <a:rPr lang="de-DE" sz="1400" dirty="0"/>
                  <a:t> </a:t>
                </a:r>
                <a:r>
                  <a:rPr lang="de-DE" sz="1400" dirty="0" err="1"/>
                  <a:t>us</a:t>
                </a:r>
                <a:r>
                  <a:rPr lang="de-DE" sz="1400" dirty="0"/>
                  <a:t> </a:t>
                </a:r>
                <a:r>
                  <a:rPr lang="de-DE" sz="1400" dirty="0" err="1"/>
                  <a:t>to</a:t>
                </a:r>
                <a:r>
                  <a:rPr lang="de-DE" sz="1400" dirty="0"/>
                  <a:t> </a:t>
                </a:r>
                <a:r>
                  <a:rPr lang="de-DE" sz="1400" dirty="0" err="1"/>
                  <a:t>capture</a:t>
                </a:r>
                <a:r>
                  <a:rPr lang="de-DE" sz="1400" dirty="0"/>
                  <a:t> </a:t>
                </a:r>
                <a:r>
                  <a:rPr lang="de-DE" sz="1400" dirty="0" err="1"/>
                  <a:t>relationships</a:t>
                </a:r>
                <a:r>
                  <a:rPr lang="de-DE" sz="1400" dirty="0"/>
                  <a:t> </a:t>
                </a:r>
                <a:r>
                  <a:rPr lang="de-DE" sz="1400" dirty="0" err="1"/>
                  <a:t>between</a:t>
                </a:r>
                <a:r>
                  <a:rPr lang="de-DE" sz="1400" dirty="0"/>
                  <a:t> multiple variables </a:t>
                </a:r>
                <a:r>
                  <a:rPr lang="de-DE" sz="1400" dirty="0" err="1"/>
                  <a:t>as</a:t>
                </a:r>
                <a:r>
                  <a:rPr lang="de-DE" sz="1400" dirty="0"/>
                  <a:t> </a:t>
                </a:r>
                <a:r>
                  <a:rPr lang="de-DE" sz="1400" dirty="0" err="1"/>
                  <a:t>they</a:t>
                </a:r>
                <a:r>
                  <a:rPr lang="de-DE" sz="1400" dirty="0"/>
                  <a:t> </a:t>
                </a:r>
                <a:r>
                  <a:rPr lang="de-DE" sz="1400" dirty="0" err="1"/>
                  <a:t>change</a:t>
                </a:r>
                <a:r>
                  <a:rPr lang="de-DE" sz="1400" dirty="0"/>
                  <a:t> </a:t>
                </a:r>
                <a:r>
                  <a:rPr lang="de-DE" sz="1400" dirty="0" err="1"/>
                  <a:t>over</a:t>
                </a:r>
                <a:r>
                  <a:rPr lang="de-DE" sz="1400" dirty="0"/>
                  <a:t> time</a:t>
                </a:r>
              </a:p>
              <a:p>
                <a:pPr marL="285750" indent="-285750" algn="l">
                  <a:buFont typeface="Wingdings" panose="05000000000000000000" pitchFamily="2" charset="2"/>
                  <a:buChar char="§"/>
                </a:pPr>
                <a:r>
                  <a:rPr lang="de-DE" sz="1400" dirty="0"/>
                  <a:t>The VAR(p) </a:t>
                </a:r>
                <a:r>
                  <a:rPr lang="de-DE" sz="1400" dirty="0" err="1"/>
                  <a:t>model</a:t>
                </a:r>
                <a:r>
                  <a:rPr lang="de-DE" sz="1400" dirty="0"/>
                  <a:t> </a:t>
                </a:r>
                <a:r>
                  <a:rPr lang="de-DE" sz="1400" dirty="0" err="1"/>
                  <a:t>can</a:t>
                </a:r>
                <a:r>
                  <a:rPr lang="de-DE" sz="1400" dirty="0"/>
                  <a:t> </a:t>
                </a:r>
                <a:r>
                  <a:rPr lang="de-DE" sz="1400" dirty="0" err="1"/>
                  <a:t>be</a:t>
                </a:r>
                <a:r>
                  <a:rPr lang="de-DE" sz="1400" dirty="0"/>
                  <a:t> </a:t>
                </a:r>
                <a:r>
                  <a:rPr lang="de-DE" sz="1400" dirty="0" err="1"/>
                  <a:t>written</a:t>
                </a:r>
                <a:r>
                  <a:rPr lang="de-DE" sz="1400" dirty="0"/>
                  <a:t> </a:t>
                </a:r>
                <a:r>
                  <a:rPr lang="de-DE" sz="1400" dirty="0" err="1"/>
                  <a:t>as</a:t>
                </a:r>
                <a:endParaRPr lang="de-DE" sz="1400" dirty="0"/>
              </a:p>
              <a:p>
                <a:pPr algn="ctr"/>
                <a14:m>
                  <m:oMathPara xmlns:m="http://schemas.openxmlformats.org/officeDocument/2006/math">
                    <m:oMathParaPr>
                      <m:jc m:val="centerGroup"/>
                    </m:oMathParaPr>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𝑦</m:t>
                          </m:r>
                        </m:e>
                        <m:sub>
                          <m:r>
                            <a:rPr lang="de-DE" b="0" i="1" smtClean="0">
                              <a:latin typeface="Cambria Math" panose="02040503050406030204" pitchFamily="18" charset="0"/>
                            </a:rPr>
                            <m:t>𝑡</m:t>
                          </m:r>
                        </m:sub>
                      </m:sSub>
                      <m:r>
                        <a:rPr lang="en-US" b="0" i="1" smtClean="0">
                          <a:latin typeface="Cambria Math" panose="02040503050406030204" pitchFamily="18" charset="0"/>
                        </a:rPr>
                        <m:t>=</m:t>
                      </m:r>
                      <m:r>
                        <a:rPr lang="en-US" b="0" i="1" smtClean="0">
                          <a:latin typeface="Cambria Math" panose="02040503050406030204" pitchFamily="18" charset="0"/>
                        </a:rPr>
                        <m:t>𝑐</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𝐴</m:t>
                          </m:r>
                        </m:e>
                        <m:sub>
                          <m:r>
                            <a:rPr lang="en-US" b="0" i="1" smtClean="0">
                              <a:latin typeface="Cambria Math" panose="02040503050406030204" pitchFamily="18" charset="0"/>
                            </a:rPr>
                            <m:t>1</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𝑦</m:t>
                          </m:r>
                        </m:e>
                        <m:sub>
                          <m:r>
                            <a:rPr lang="en-US" b="0" i="1" smtClean="0">
                              <a:latin typeface="Cambria Math" panose="02040503050406030204" pitchFamily="18" charset="0"/>
                            </a:rPr>
                            <m:t>𝑡</m:t>
                          </m:r>
                          <m:r>
                            <a:rPr lang="en-US" b="0" i="1" smtClean="0">
                              <a:latin typeface="Cambria Math" panose="02040503050406030204" pitchFamily="18" charset="0"/>
                            </a:rPr>
                            <m:t>−1</m:t>
                          </m:r>
                        </m:sub>
                      </m:sSub>
                      <m:r>
                        <a:rPr lang="de-DE" b="0" i="1" smtClean="0">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𝐴</m:t>
                          </m:r>
                        </m:e>
                        <m:sub>
                          <m:r>
                            <a:rPr lang="de-DE" b="0" i="1" smtClean="0">
                              <a:latin typeface="Cambria Math" panose="02040503050406030204" pitchFamily="18" charset="0"/>
                            </a:rPr>
                            <m:t>𝑝</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𝑦</m:t>
                          </m:r>
                        </m:e>
                        <m:sub>
                          <m:r>
                            <a:rPr lang="en-US" i="1">
                              <a:latin typeface="Cambria Math" panose="02040503050406030204" pitchFamily="18" charset="0"/>
                            </a:rPr>
                            <m:t>𝑡</m:t>
                          </m:r>
                          <m:r>
                            <a:rPr lang="en-US" i="1">
                              <a:latin typeface="Cambria Math" panose="02040503050406030204" pitchFamily="18" charset="0"/>
                            </a:rPr>
                            <m:t>−</m:t>
                          </m:r>
                          <m:r>
                            <a:rPr lang="de-DE" b="0" i="1" smtClean="0">
                              <a:latin typeface="Cambria Math" panose="02040503050406030204" pitchFamily="18" charset="0"/>
                            </a:rPr>
                            <m:t>𝑝</m:t>
                          </m:r>
                        </m:sub>
                      </m:sSub>
                      <m:r>
                        <a:rPr lang="de-DE" b="0" i="0" smtClean="0">
                          <a:latin typeface="Cambria Math" panose="02040503050406030204" pitchFamily="18" charset="0"/>
                        </a:rPr>
                        <m:t>+</m:t>
                      </m:r>
                      <m:sSub>
                        <m:sSubPr>
                          <m:ctrlPr>
                            <a:rPr lang="de-DE" b="0" i="1" smtClean="0">
                              <a:latin typeface="Cambria Math" panose="02040503050406030204" pitchFamily="18" charset="0"/>
                            </a:rPr>
                          </m:ctrlPr>
                        </m:sSubPr>
                        <m:e>
                          <m:r>
                            <a:rPr lang="de-DE" b="0" i="1" smtClean="0">
                              <a:latin typeface="Cambria Math" panose="02040503050406030204" pitchFamily="18" charset="0"/>
                            </a:rPr>
                            <m:t>𝑒</m:t>
                          </m:r>
                        </m:e>
                        <m:sub>
                          <m:r>
                            <a:rPr lang="de-DE" b="0" i="1" smtClean="0">
                              <a:latin typeface="Cambria Math" panose="02040503050406030204" pitchFamily="18" charset="0"/>
                            </a:rPr>
                            <m:t>𝑡</m:t>
                          </m:r>
                        </m:sub>
                      </m:sSub>
                    </m:oMath>
                  </m:oMathPara>
                </a14:m>
                <a:br>
                  <a:rPr lang="de-DE" dirty="0"/>
                </a:br>
                <a:endParaRPr lang="de-DE" dirty="0"/>
              </a:p>
              <a:p>
                <a:pPr marL="285750" indent="-285750">
                  <a:buFont typeface="Wingdings" panose="05000000000000000000" pitchFamily="2" charset="2"/>
                  <a:buChar char="§"/>
                </a:pPr>
                <a:r>
                  <a:rPr lang="de-DE" sz="1400" dirty="0"/>
                  <a:t>Here</a:t>
                </a:r>
                <a:r>
                  <a:rPr lang="en-US" sz="1400" dirty="0"/>
                  <a:t> </a:t>
                </a:r>
                <a14:m>
                  <m:oMath xmlns:m="http://schemas.openxmlformats.org/officeDocument/2006/math">
                    <m:r>
                      <a:rPr lang="en-US" sz="1400" i="1">
                        <a:latin typeface="Cambria Math" panose="02040503050406030204" pitchFamily="18" charset="0"/>
                      </a:rPr>
                      <m:t>𝑐</m:t>
                    </m:r>
                  </m:oMath>
                </a14:m>
                <a:r>
                  <a:rPr lang="de-DE" sz="1400" dirty="0"/>
                  <a:t> </a:t>
                </a:r>
                <a:r>
                  <a:rPr lang="de-DE" sz="1400" dirty="0" err="1"/>
                  <a:t>represents</a:t>
                </a:r>
                <a:r>
                  <a:rPr lang="de-DE" sz="1400" dirty="0"/>
                  <a:t> a </a:t>
                </a:r>
                <a:r>
                  <a:rPr lang="de-DE" sz="1400" dirty="0" err="1"/>
                  <a:t>constant</a:t>
                </a:r>
                <a:r>
                  <a:rPr lang="de-DE" sz="1400" dirty="0"/>
                  <a:t>, </a:t>
                </a:r>
                <a14:m>
                  <m:oMath xmlns:m="http://schemas.openxmlformats.org/officeDocument/2006/math">
                    <m:r>
                      <a:rPr lang="de-DE" sz="1400" b="0" i="1" smtClean="0">
                        <a:latin typeface="Cambria Math" panose="02040503050406030204" pitchFamily="18" charset="0"/>
                      </a:rPr>
                      <m:t>𝐴</m:t>
                    </m:r>
                  </m:oMath>
                </a14:m>
                <a:r>
                  <a:rPr lang="de-DE" sz="1400" dirty="0"/>
                  <a:t> </a:t>
                </a:r>
                <a:r>
                  <a:rPr lang="de-DE" sz="1400" dirty="0" err="1"/>
                  <a:t>is</a:t>
                </a:r>
                <a:r>
                  <a:rPr lang="de-DE" sz="1400" dirty="0"/>
                  <a:t> a </a:t>
                </a:r>
                <a:r>
                  <a:rPr lang="de-DE" sz="1400" dirty="0" err="1"/>
                  <a:t>matrix</a:t>
                </a:r>
                <a:r>
                  <a:rPr lang="de-DE" sz="1400" dirty="0"/>
                  <a:t> </a:t>
                </a:r>
                <a:r>
                  <a:rPr lang="de-DE" sz="1400" dirty="0" err="1"/>
                  <a:t>of</a:t>
                </a:r>
                <a:r>
                  <a:rPr lang="de-DE" sz="1400" dirty="0"/>
                  <a:t> </a:t>
                </a:r>
                <a:r>
                  <a:rPr lang="de-DE" sz="1400" dirty="0" err="1"/>
                  <a:t>coefficients</a:t>
                </a:r>
                <a:r>
                  <a:rPr lang="de-DE" sz="1400" dirty="0"/>
                  <a:t> , </a:t>
                </a:r>
                <a14:m>
                  <m:oMath xmlns:m="http://schemas.openxmlformats.org/officeDocument/2006/math">
                    <m:r>
                      <a:rPr lang="en-US" sz="1400" i="1">
                        <a:latin typeface="Cambria Math" panose="02040503050406030204" pitchFamily="18" charset="0"/>
                      </a:rPr>
                      <m:t>𝑦</m:t>
                    </m:r>
                  </m:oMath>
                </a14:m>
                <a:r>
                  <a:rPr lang="de-DE" sz="1400" dirty="0"/>
                  <a:t> </a:t>
                </a:r>
                <a:r>
                  <a:rPr lang="de-DE" sz="1400" dirty="0" err="1"/>
                  <a:t>is</a:t>
                </a:r>
                <a:r>
                  <a:rPr lang="de-DE" sz="1400" dirty="0"/>
                  <a:t> a </a:t>
                </a:r>
                <a:r>
                  <a:rPr lang="de-DE" sz="1400" dirty="0" err="1"/>
                  <a:t>vector</a:t>
                </a:r>
                <a:r>
                  <a:rPr lang="de-DE" sz="1400" dirty="0"/>
                  <a:t> </a:t>
                </a:r>
                <a:r>
                  <a:rPr lang="de-DE" sz="1400" dirty="0" err="1"/>
                  <a:t>of</a:t>
                </a:r>
                <a:r>
                  <a:rPr lang="de-DE" sz="1400" dirty="0"/>
                  <a:t> variables and </a:t>
                </a:r>
                <a14:m>
                  <m:oMath xmlns:m="http://schemas.openxmlformats.org/officeDocument/2006/math">
                    <m:r>
                      <a:rPr lang="de-DE" sz="1400" i="1">
                        <a:latin typeface="Cambria Math" panose="02040503050406030204" pitchFamily="18" charset="0"/>
                      </a:rPr>
                      <m:t>𝑒</m:t>
                    </m:r>
                  </m:oMath>
                </a14:m>
                <a:r>
                  <a:rPr lang="de-DE" sz="1400" dirty="0"/>
                  <a:t> </a:t>
                </a:r>
                <a:r>
                  <a:rPr lang="de-DE" sz="1400" dirty="0" err="1"/>
                  <a:t>is</a:t>
                </a:r>
                <a:r>
                  <a:rPr lang="de-DE" sz="1400" dirty="0"/>
                  <a:t> an </a:t>
                </a:r>
                <a:r>
                  <a:rPr lang="de-DE" sz="1400" dirty="0" err="1"/>
                  <a:t>error</a:t>
                </a:r>
                <a:r>
                  <a:rPr lang="de-DE" sz="1400" dirty="0"/>
                  <a:t> </a:t>
                </a:r>
                <a:r>
                  <a:rPr lang="de-DE" sz="1400" dirty="0" err="1"/>
                  <a:t>term</a:t>
                </a:r>
                <a:endParaRPr lang="de-DE" sz="1400" dirty="0"/>
              </a:p>
              <a:p>
                <a:pPr marL="285750" indent="-285750">
                  <a:buFont typeface="Wingdings" panose="05000000000000000000" pitchFamily="2" charset="2"/>
                  <a:buChar char="§"/>
                </a:pPr>
                <a:r>
                  <a:rPr lang="de-DE" sz="1400" dirty="0" err="1"/>
                  <a:t>Various</a:t>
                </a:r>
                <a:r>
                  <a:rPr lang="de-DE" sz="1400" dirty="0"/>
                  <a:t> </a:t>
                </a:r>
                <a:r>
                  <a:rPr lang="de-DE" sz="1400" dirty="0" err="1"/>
                  <a:t>methods</a:t>
                </a:r>
                <a:r>
                  <a:rPr lang="de-DE" sz="1400" dirty="0"/>
                  <a:t> </a:t>
                </a:r>
                <a:r>
                  <a:rPr lang="de-DE" sz="1400" dirty="0" err="1"/>
                  <a:t>exist</a:t>
                </a:r>
                <a:r>
                  <a:rPr lang="de-DE" sz="1400" dirty="0"/>
                  <a:t> </a:t>
                </a:r>
                <a:r>
                  <a:rPr lang="de-DE" sz="1400" dirty="0" err="1"/>
                  <a:t>to</a:t>
                </a:r>
                <a:r>
                  <a:rPr lang="de-DE" sz="1400" dirty="0"/>
                  <a:t> </a:t>
                </a:r>
                <a:r>
                  <a:rPr lang="de-DE" sz="1400" dirty="0" err="1"/>
                  <a:t>determine</a:t>
                </a:r>
                <a:r>
                  <a:rPr lang="de-DE" sz="1400" dirty="0"/>
                  <a:t> </a:t>
                </a:r>
                <a:r>
                  <a:rPr lang="de-DE" sz="1400" dirty="0" err="1"/>
                  <a:t>the</a:t>
                </a:r>
                <a:r>
                  <a:rPr lang="de-DE" sz="1400" dirty="0"/>
                  <a:t> optimal </a:t>
                </a:r>
                <a:r>
                  <a:rPr lang="de-DE" sz="1400" dirty="0" err="1"/>
                  <a:t>lookback</a:t>
                </a:r>
                <a:r>
                  <a:rPr lang="de-DE" sz="1400" dirty="0"/>
                  <a:t> </a:t>
                </a:r>
                <a:r>
                  <a:rPr lang="de-DE" sz="1400" dirty="0" err="1"/>
                  <a:t>period</a:t>
                </a:r>
                <a:r>
                  <a:rPr lang="de-DE" sz="1400" dirty="0"/>
                  <a:t> </a:t>
                </a:r>
                <a:r>
                  <a:rPr lang="de-DE" sz="1400" dirty="0" err="1"/>
                  <a:t>of</a:t>
                </a:r>
                <a:r>
                  <a:rPr lang="de-DE" sz="1400" dirty="0"/>
                  <a:t> a VAR </a:t>
                </a:r>
                <a:r>
                  <a:rPr lang="de-DE" sz="1400" dirty="0" err="1"/>
                  <a:t>model</a:t>
                </a:r>
                <a:r>
                  <a:rPr lang="de-DE" sz="1400" dirty="0"/>
                  <a:t> (</a:t>
                </a:r>
                <a:r>
                  <a:rPr lang="de-DE" sz="1400" dirty="0" err="1"/>
                  <a:t>the</a:t>
                </a:r>
                <a:r>
                  <a:rPr lang="de-DE" sz="1400" dirty="0"/>
                  <a:t> </a:t>
                </a:r>
                <a14:m>
                  <m:oMath xmlns:m="http://schemas.openxmlformats.org/officeDocument/2006/math">
                    <m:r>
                      <a:rPr lang="de-DE" sz="1400" b="0" i="1" smtClean="0">
                        <a:latin typeface="Cambria Math" panose="02040503050406030204" pitchFamily="18" charset="0"/>
                      </a:rPr>
                      <m:t>𝑝</m:t>
                    </m:r>
                  </m:oMath>
                </a14:m>
                <a:r>
                  <a:rPr lang="de-DE" sz="1400" dirty="0"/>
                  <a:t> </a:t>
                </a:r>
                <a:r>
                  <a:rPr lang="de-DE" sz="1400" dirty="0" err="1"/>
                  <a:t>of</a:t>
                </a:r>
                <a:r>
                  <a:rPr lang="de-DE" sz="1400" dirty="0"/>
                  <a:t> </a:t>
                </a:r>
                <a:r>
                  <a:rPr lang="de-DE" sz="1400" dirty="0" err="1"/>
                  <a:t>the</a:t>
                </a:r>
                <a:r>
                  <a:rPr lang="de-DE" sz="1400" dirty="0"/>
                  <a:t> </a:t>
                </a:r>
                <a:r>
                  <a:rPr lang="de-DE" sz="1400" dirty="0" err="1"/>
                  <a:t>model</a:t>
                </a:r>
                <a:r>
                  <a:rPr lang="de-DE" sz="1400" dirty="0"/>
                  <a:t>)</a:t>
                </a:r>
              </a:p>
              <a:p>
                <a:pPr marL="285750" indent="-285750" algn="l">
                  <a:buFont typeface="Wingdings" panose="05000000000000000000" pitchFamily="2" charset="2"/>
                  <a:buChar char="§"/>
                </a:pPr>
                <a:endParaRPr lang="de-DE" sz="1400" dirty="0"/>
              </a:p>
            </p:txBody>
          </p:sp>
        </mc:Choice>
        <mc:Fallback xmlns="">
          <p:sp>
            <p:nvSpPr>
              <p:cNvPr id="3" name="TextBox 2">
                <a:extLst>
                  <a:ext uri="{FF2B5EF4-FFF2-40B4-BE49-F238E27FC236}">
                    <a16:creationId xmlns:a16="http://schemas.microsoft.com/office/drawing/2014/main" id="{209316FD-DB4E-4B08-B464-BFE4F20D849D}"/>
                  </a:ext>
                </a:extLst>
              </p:cNvPr>
              <p:cNvSpPr txBox="1">
                <a:spLocks noRot="1" noChangeAspect="1" noMove="1" noResize="1" noEditPoints="1" noAdjustHandles="1" noChangeArrowheads="1" noChangeShapeType="1" noTextEdit="1"/>
              </p:cNvSpPr>
              <p:nvPr/>
            </p:nvSpPr>
            <p:spPr>
              <a:xfrm>
                <a:off x="587375" y="1013751"/>
                <a:ext cx="10945150" cy="1180809"/>
              </a:xfrm>
              <a:prstGeom prst="rect">
                <a:avLst/>
              </a:prstGeom>
              <a:blipFill>
                <a:blip r:embed="rId4"/>
                <a:stretch>
                  <a:fillRect l="-891" t="-4639" b="-6701"/>
                </a:stretch>
              </a:blipFill>
            </p:spPr>
            <p:txBody>
              <a:bodyPr/>
              <a:lstStyle/>
              <a:p>
                <a:r>
                  <a:rPr lang="en-US">
                    <a:noFill/>
                  </a:rPr>
                  <a:t> </a:t>
                </a:r>
              </a:p>
            </p:txBody>
          </p:sp>
        </mc:Fallback>
      </mc:AlternateContent>
      <p:sp>
        <p:nvSpPr>
          <p:cNvPr id="4" name="TextBox 3">
            <a:extLst>
              <a:ext uri="{FF2B5EF4-FFF2-40B4-BE49-F238E27FC236}">
                <a16:creationId xmlns:a16="http://schemas.microsoft.com/office/drawing/2014/main" id="{9A5F047F-1194-4304-9DF1-8C11949D7544}"/>
              </a:ext>
            </a:extLst>
          </p:cNvPr>
          <p:cNvSpPr txBox="1"/>
          <p:nvPr/>
        </p:nvSpPr>
        <p:spPr>
          <a:xfrm>
            <a:off x="587375" y="5313782"/>
            <a:ext cx="11017250" cy="969703"/>
          </a:xfrm>
          <a:prstGeom prst="rect">
            <a:avLst/>
          </a:prstGeom>
          <a:noFill/>
        </p:spPr>
        <p:txBody>
          <a:bodyPr wrap="square" lIns="0" tIns="0" rIns="0" bIns="0" rtlCol="0">
            <a:noAutofit/>
          </a:bodyPr>
          <a:lstStyle/>
          <a:p>
            <a:pPr marL="285750" indent="-285750" algn="l">
              <a:buFont typeface="Wingdings" panose="05000000000000000000" pitchFamily="2" charset="2"/>
              <a:buChar char="§"/>
            </a:pPr>
            <a:r>
              <a:rPr lang="de-DE" sz="1400" dirty="0" err="1"/>
              <a:t>There</a:t>
            </a:r>
            <a:r>
              <a:rPr lang="de-DE" sz="1400" dirty="0"/>
              <a:t> </a:t>
            </a:r>
            <a:r>
              <a:rPr lang="de-DE" sz="1400" dirty="0" err="1"/>
              <a:t>is</a:t>
            </a:r>
            <a:r>
              <a:rPr lang="de-DE" sz="1400" dirty="0"/>
              <a:t> a </a:t>
            </a:r>
            <a:r>
              <a:rPr lang="de-DE" sz="1400" dirty="0" err="1"/>
              <a:t>cyclical</a:t>
            </a:r>
            <a:r>
              <a:rPr lang="de-DE" sz="1400" dirty="0"/>
              <a:t> </a:t>
            </a:r>
            <a:r>
              <a:rPr lang="de-DE" sz="1400" dirty="0" err="1"/>
              <a:t>nature</a:t>
            </a:r>
            <a:r>
              <a:rPr lang="de-DE" sz="1400" dirty="0"/>
              <a:t> </a:t>
            </a:r>
            <a:r>
              <a:rPr lang="de-DE" sz="1400" dirty="0" err="1"/>
              <a:t>to</a:t>
            </a:r>
            <a:r>
              <a:rPr lang="de-DE" sz="1400" dirty="0"/>
              <a:t> </a:t>
            </a:r>
            <a:r>
              <a:rPr lang="de-DE" sz="1400" dirty="0" err="1"/>
              <a:t>volatility</a:t>
            </a:r>
            <a:r>
              <a:rPr lang="de-DE" sz="1400" dirty="0"/>
              <a:t> </a:t>
            </a:r>
            <a:r>
              <a:rPr lang="en-US" sz="1400" dirty="0"/>
              <a:t>that can be seen through changing signs in successive lookback periods</a:t>
            </a:r>
            <a:endParaRPr lang="de-DE" sz="1400" dirty="0"/>
          </a:p>
          <a:p>
            <a:pPr marL="285750" indent="-285750" algn="l">
              <a:buFont typeface="Wingdings" panose="05000000000000000000" pitchFamily="2" charset="2"/>
              <a:buChar char="§"/>
            </a:pPr>
            <a:r>
              <a:rPr lang="en-US" sz="1400" dirty="0"/>
              <a:t>This pattern continues long into the past showing the long memory of volatility (specially realized) and volume and is robust to proxy calculations</a:t>
            </a:r>
          </a:p>
          <a:p>
            <a:pPr marL="285750" indent="-285750" algn="l">
              <a:buFont typeface="Wingdings" panose="05000000000000000000" pitchFamily="2" charset="2"/>
              <a:buChar char="§"/>
            </a:pPr>
            <a:r>
              <a:rPr lang="en-US" sz="1400" dirty="0"/>
              <a:t>Although in a VAR(1) model implied volatility has a strictly positive and realized volatility a strictly negative sign, we see in more complex models that their influence on volume has a more complex effect changing through time</a:t>
            </a:r>
          </a:p>
        </p:txBody>
      </p:sp>
    </p:spTree>
    <p:extLst>
      <p:ext uri="{BB962C8B-B14F-4D97-AF65-F5344CB8AC3E}">
        <p14:creationId xmlns:p14="http://schemas.microsoft.com/office/powerpoint/2010/main" val="1582617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fNMVN6Iqu93BoG2_nkCm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
  <p:tag name="MIO_SHOW_DATE" val="True"/>
  <p:tag name="MIO_SHOW_FOOTER" val="True"/>
  <p:tag name="MIO_SHOW_PAGENUMBER" val="True"/>
  <p:tag name="MIO_AVOID_BLANK_LAYOUT" val="True"/>
  <p:tag name="MIO_CD_LAYOUT_VALID_AREA" val="False"/>
  <p:tag name="MIO_NUMBER_OF_VALID_LAYOUTS" val="32"/>
  <p:tag name="MIO_HDS" val="True"/>
  <p:tag name="MIO_SKIPVERSION" val="01.01.0001 00:00:00"/>
  <p:tag name="MIO_EKGUID" val="ac7af872-475c-48d5-9e7c-b8348d96496a"/>
  <p:tag name="MIO_UPDATE" val="True"/>
  <p:tag name="MIO_VERSION" val="16.03.2021 13:50:09"/>
  <p:tag name="MIO_DBID" val="0F45B44C-9BC7-4D85-81C4-7155EE70A7B9"/>
  <p:tag name="MIO_LASTDOWNLOADED" val="11.05.2021 09:55:17.635"/>
  <p:tag name="MIO_OBJECTNAME" val="EUREX EX"/>
  <p:tag name="MIO_CDID" val="23744607-847c-4fd7-bcdf-dea3f117acd8"/>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tUhGzxNS3SNhetisjE3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50.xml><?xml version="1.0" encoding="utf-8"?>
<p:tagLst xmlns:a="http://schemas.openxmlformats.org/drawingml/2006/main" xmlns:r="http://schemas.openxmlformats.org/officeDocument/2006/relationships" xmlns:p="http://schemas.openxmlformats.org/presentationml/2006/main">
  <p:tag name="MIO_EKGUID" val="d087a7fc-2a27-499f-84bd-752e40c52873"/>
  <p:tag name="MIO_GUID" val="3d43c148-4052-405e-8957-c214fa933ffd"/>
  <p:tag name="MIO_UPDATE" val="True"/>
  <p:tag name="MIO_VERSION" val="31.03.2021 09:28:20"/>
  <p:tag name="MIO_DBID" val="0F45B44C-9BC7-4D85-81C4-7155EE70A7B9"/>
  <p:tag name="MIO_LASTDOWNLOADED" val="03.12.2021 09:46:16.183"/>
  <p:tag name="MIO_OBJECTNAME" val="Textbox"/>
  <p:tag name="MIO_LASTEDITORNAME" val="Stephan Grambach"/>
</p:tagLst>
</file>

<file path=ppt/tags/tag51.xml><?xml version="1.0" encoding="utf-8"?>
<p:tagLst xmlns:a="http://schemas.openxmlformats.org/drawingml/2006/main" xmlns:r="http://schemas.openxmlformats.org/officeDocument/2006/relationships" xmlns:p="http://schemas.openxmlformats.org/presentationml/2006/main">
  <p:tag name="MIO_EKGUID" val="d087a7fc-2a27-499f-84bd-752e40c52873"/>
  <p:tag name="MIO_GUID" val="3d43c148-4052-405e-8957-c214fa933ffd"/>
  <p:tag name="MIO_UPDATE" val="True"/>
  <p:tag name="MIO_VERSION" val="31.03.2021 09:28:20"/>
  <p:tag name="MIO_DBID" val="0F45B44C-9BC7-4D85-81C4-7155EE70A7B9"/>
  <p:tag name="MIO_LASTDOWNLOADED" val="03.12.2021 09:46:16.183"/>
  <p:tag name="MIO_OBJECTNAME" val="Textbox"/>
  <p:tag name="MIO_LASTEDITORNAME" val="Stephan Grambach"/>
</p:tagLst>
</file>

<file path=ppt/tags/tag52.xml><?xml version="1.0" encoding="utf-8"?>
<p:tagLst xmlns:a="http://schemas.openxmlformats.org/drawingml/2006/main" xmlns:r="http://schemas.openxmlformats.org/officeDocument/2006/relationships" xmlns:p="http://schemas.openxmlformats.org/presentationml/2006/main">
  <p:tag name="MIO_EKGUID" val="d087a7fc-2a27-499f-84bd-752e40c52873"/>
  <p:tag name="MIO_GUID" val="3d43c148-4052-405e-8957-c214fa933ffd"/>
  <p:tag name="MIO_UPDATE" val="True"/>
  <p:tag name="MIO_VERSION" val="31.03.2021 09:28:20"/>
  <p:tag name="MIO_DBID" val="0F45B44C-9BC7-4D85-81C4-7155EE70A7B9"/>
  <p:tag name="MIO_LASTDOWNLOADED" val="03.12.2021 09:46:16.183"/>
  <p:tag name="MIO_OBJECTNAME" val="Textbox"/>
  <p:tag name="MIO_LASTEDITORNAME" val="Stephan Grambach"/>
</p:tagLst>
</file>

<file path=ppt/tags/tag5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6.xml><?xml version="1.0" encoding="utf-8"?>
<p:tagLst xmlns:a="http://schemas.openxmlformats.org/drawingml/2006/main" xmlns:r="http://schemas.openxmlformats.org/officeDocument/2006/relationships" xmlns:p="http://schemas.openxmlformats.org/presentationml/2006/main">
  <p:tag name="MIO_EKGUID" val="b7e3aed5-d40c-4184-94c9-b98b9767fad1"/>
  <p:tag name="MIO_GUID" val="61f5d888-6678-4503-81b4-974bb7b60744"/>
  <p:tag name="MIO_UPDATE" val="True"/>
  <p:tag name="MIO_VERSION" val="31.03.2021 08:50:32"/>
  <p:tag name="MIO_DBID" val="0F45B44C-9BC7-4D85-81C4-7155EE70A7B9"/>
  <p:tag name="MIO_LASTDOWNLOADED" val="09.12.2021 18:32:50.987"/>
  <p:tag name="MIO_OBJECTNAME" val="Table 1"/>
  <p:tag name="MIO_LASTEDITORNAME" val="Stephan Grambach"/>
</p:tagLst>
</file>

<file path=ppt/tags/tag5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heme/theme1.xml><?xml version="1.0" encoding="utf-8"?>
<a:theme xmlns:a="http://schemas.openxmlformats.org/drawingml/2006/main" name="EUREX EX">
  <a:themeElements>
    <a:clrScheme name="EUREX">
      <a:dk1>
        <a:srgbClr val="201751"/>
      </a:dk1>
      <a:lt1>
        <a:srgbClr val="FEFFFF"/>
      </a:lt1>
      <a:dk2>
        <a:srgbClr val="00CE7D"/>
      </a:dk2>
      <a:lt2>
        <a:srgbClr val="F3F3F3"/>
      </a:lt2>
      <a:accent1>
        <a:srgbClr val="201751"/>
      </a:accent1>
      <a:accent2>
        <a:srgbClr val="00CE7D"/>
      </a:accent2>
      <a:accent3>
        <a:srgbClr val="3C7DBE"/>
      </a:accent3>
      <a:accent4>
        <a:srgbClr val="DCDCDC"/>
      </a:accent4>
      <a:accent5>
        <a:srgbClr val="00454D"/>
      </a:accent5>
      <a:accent6>
        <a:srgbClr val="F3F3F3"/>
      </a:accent6>
      <a:hlink>
        <a:srgbClr val="00CE7D"/>
      </a:hlink>
      <a:folHlink>
        <a:srgbClr val="201751"/>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bIns="792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defPPr>
      </a:lstStyle>
    </a:txDef>
  </a:objectDefaults>
  <a:extraClrSchemeLst/>
  <a:custClrLst>
    <a:custClr name="Eurex Blue">
      <a:srgbClr val="201751"/>
    </a:custClr>
    <a:custClr name="Teal">
      <a:srgbClr val="00454D"/>
    </a:custClr>
    <a:custClr name="Purple">
      <a:srgbClr val="66348E"/>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Green">
      <a:srgbClr val="00CE7D"/>
    </a:custClr>
    <a:custClr name="Light Blue">
      <a:srgbClr val="3C7DBE"/>
    </a:custClr>
    <a:custClr name="Peach">
      <a:srgbClr val="FFAAA1"/>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Light Grey">
      <a:srgbClr val="F3F3F3"/>
    </a:custClr>
    <a:custClr name="Grey">
      <a:srgbClr val="DCDCDC"/>
    </a:custClr>
    <a:custClr name="Aqua Mint">
      <a:srgbClr val="A0DCC8"/>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BG_PowerPoint_16x9.potx" id="{2DE12C27-C869-4AA8-BE60-AB0248EDDCBE}" vid="{F2A30D54-A040-4E62-98AC-277815C9D09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TotalTime>
  <Words>2345</Words>
  <Application>Microsoft Office PowerPoint</Application>
  <PresentationFormat>Widescreen</PresentationFormat>
  <Paragraphs>309</Paragraphs>
  <Slides>16</Slides>
  <Notes>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2" baseType="lpstr">
      <vt:lpstr>Arial</vt:lpstr>
      <vt:lpstr>Calibri</vt:lpstr>
      <vt:lpstr>Cambria Math</vt:lpstr>
      <vt:lpstr>Wingdings</vt:lpstr>
      <vt:lpstr>EUREX EX</vt:lpstr>
      <vt:lpstr>think-cell Folie</vt:lpstr>
      <vt:lpstr>Volatility &amp; Volume</vt:lpstr>
      <vt:lpstr>Summary of Development</vt:lpstr>
      <vt:lpstr>Three Project Questions</vt:lpstr>
      <vt:lpstr>Research</vt:lpstr>
      <vt:lpstr>A relevant topic across Financial Markets1</vt:lpstr>
      <vt:lpstr>The Volatility Gap is Growing</vt:lpstr>
      <vt:lpstr>PowerPoint Presentation</vt:lpstr>
      <vt:lpstr>PowerPoint Presentation</vt:lpstr>
      <vt:lpstr>PowerPoint Presentation</vt:lpstr>
      <vt:lpstr>PowerPoint Presentation</vt:lpstr>
      <vt:lpstr>PowerPoint Presentation</vt:lpstr>
      <vt:lpstr>PowerPoint Presentation</vt:lpstr>
      <vt:lpstr>Appendix</vt:lpstr>
      <vt:lpstr>Appendix I More Equity Index Implied / realized volatility pairs</vt:lpstr>
      <vt:lpstr>Appendix II Impulse Response Functions </vt:lpstr>
      <vt:lpstr>Appendix III Referen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olatility &amp; Volume</dc:title>
  <dc:creator>Strahinja Trenkic</dc:creator>
  <cp:lastModifiedBy>Strahinja Trenkic</cp:lastModifiedBy>
  <cp:revision>139</cp:revision>
  <cp:lastPrinted>2021-12-13T08:00:01Z</cp:lastPrinted>
  <dcterms:created xsi:type="dcterms:W3CDTF">2021-12-01T10:54:48Z</dcterms:created>
  <dcterms:modified xsi:type="dcterms:W3CDTF">2022-01-16T08:0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952e98-911c-4aff-840a-f71bc6baaf7f_Enabled">
    <vt:lpwstr>true</vt:lpwstr>
  </property>
  <property fmtid="{D5CDD505-2E9C-101B-9397-08002B2CF9AE}" pid="3" name="MSIP_Label_2e952e98-911c-4aff-840a-f71bc6baaf7f_SetDate">
    <vt:lpwstr>2022-01-10T14:32:57Z</vt:lpwstr>
  </property>
  <property fmtid="{D5CDD505-2E9C-101B-9397-08002B2CF9AE}" pid="4" name="MSIP_Label_2e952e98-911c-4aff-840a-f71bc6baaf7f_Method">
    <vt:lpwstr>Standard</vt:lpwstr>
  </property>
  <property fmtid="{D5CDD505-2E9C-101B-9397-08002B2CF9AE}" pid="5" name="MSIP_Label_2e952e98-911c-4aff-840a-f71bc6baaf7f_Name">
    <vt:lpwstr>2e952e98-911c-4aff-840a-f71bc6baaf7f</vt:lpwstr>
  </property>
  <property fmtid="{D5CDD505-2E9C-101B-9397-08002B2CF9AE}" pid="6" name="MSIP_Label_2e952e98-911c-4aff-840a-f71bc6baaf7f_SiteId">
    <vt:lpwstr>e00ddcdf-1e0f-4be5-a37a-894a4731986a</vt:lpwstr>
  </property>
  <property fmtid="{D5CDD505-2E9C-101B-9397-08002B2CF9AE}" pid="7" name="MSIP_Label_2e952e98-911c-4aff-840a-f71bc6baaf7f_ActionId">
    <vt:lpwstr>424649fe-05f1-4bbe-9f3d-87c55f178ca6</vt:lpwstr>
  </property>
  <property fmtid="{D5CDD505-2E9C-101B-9397-08002B2CF9AE}" pid="8" name="MSIP_Label_2e952e98-911c-4aff-840a-f71bc6baaf7f_ContentBits">
    <vt:lpwstr>2</vt:lpwstr>
  </property>
</Properties>
</file>